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"/>
  </p:notesMasterIdLst>
  <p:sldIdLst>
    <p:sldId id="256" r:id="rId2"/>
  </p:sldIdLst>
  <p:sldSz cx="12192000" cy="6858000"/>
  <p:notesSz cx="6858000" cy="9144000"/>
  <p:custDataLst>
    <p:tags r:id="rId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0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 pos="981">
          <p15:clr>
            <a:srgbClr val="A4A3A4"/>
          </p15:clr>
        </p15:guide>
        <p15:guide id="4" orient="horz" pos="247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orient="horz" pos="1525">
          <p15:clr>
            <a:srgbClr val="A4A3A4"/>
          </p15:clr>
        </p15:guide>
        <p15:guide id="7" pos="211">
          <p15:clr>
            <a:srgbClr val="A4A3A4"/>
          </p15:clr>
        </p15:guide>
        <p15:guide id="8" pos="7469">
          <p15:clr>
            <a:srgbClr val="A4A3A4"/>
          </p15:clr>
        </p15:guide>
        <p15:guide id="9" pos="3840">
          <p15:clr>
            <a:srgbClr val="A4A3A4"/>
          </p15:clr>
        </p15:guide>
        <p15:guide id="10" pos="2026">
          <p15:clr>
            <a:srgbClr val="A4A3A4"/>
          </p15:clr>
        </p15:guide>
        <p15:guide id="11" pos="565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A0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26" autoAdjust="0"/>
    <p:restoredTop sz="74556" autoAdjust="0"/>
  </p:normalViewPr>
  <p:slideViewPr>
    <p:cSldViewPr showGuides="1">
      <p:cViewPr varScale="1">
        <p:scale>
          <a:sx n="70" d="100"/>
          <a:sy n="70" d="100"/>
        </p:scale>
        <p:origin x="954" y="54"/>
      </p:cViewPr>
      <p:guideLst>
        <p:guide orient="horz" pos="210"/>
        <p:guide orient="horz" pos="3838"/>
        <p:guide orient="horz" pos="981"/>
        <p:guide orient="horz" pos="2478"/>
        <p:guide orient="horz" pos="2160"/>
        <p:guide orient="horz" pos="1525"/>
        <p:guide pos="211"/>
        <p:guide pos="7469"/>
        <p:guide pos="3840"/>
        <p:guide pos="2026"/>
        <p:guide pos="565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E19A9B-F41E-4663-9DC5-20914585F568}" type="datetimeFigureOut">
              <a:rPr lang="de-DE" smtClean="0"/>
              <a:t>22.09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7F40EC-D7E6-4560-83F9-F4B5F2AB5A9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25485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7F40EC-D7E6-4560-83F9-F4B5F2AB5A92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000919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93799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8"/>
            <a:ext cx="12192886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4" y="809297"/>
            <a:ext cx="8930216" cy="1107996"/>
          </a:xfrm>
          <a:noFill/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  <a:noFill/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2708922"/>
            <a:ext cx="8930215" cy="430887"/>
          </a:xfrm>
          <a:noFill/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230519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wei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2310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4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249"/>
            <a:ext cx="12192443" cy="685775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809297"/>
            <a:ext cx="8930215" cy="1107996"/>
          </a:xfrm>
        </p:spPr>
        <p:txBody>
          <a:bodyPr anchor="t"/>
          <a:lstStyle>
            <a:lvl1pPr algn="l">
              <a:spcAft>
                <a:spcPts val="0"/>
              </a:spcAft>
              <a:defRPr sz="3600">
                <a:solidFill>
                  <a:schemeClr val="accent5"/>
                </a:solidFill>
              </a:defRPr>
            </a:lvl1pPr>
          </a:lstStyle>
          <a:p>
            <a:r>
              <a:rPr lang="de-DE" dirty="0" smtClean="0"/>
              <a:t>Prägnanter Titel </a:t>
            </a:r>
            <a:br>
              <a:rPr lang="de-DE" dirty="0" smtClean="0"/>
            </a:br>
            <a:r>
              <a:rPr lang="de-DE" dirty="0" smtClean="0"/>
              <a:t>der Präsentatio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6" y="1988840"/>
            <a:ext cx="8930215" cy="276999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accent5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4" y="2708922"/>
            <a:ext cx="8929405" cy="430887"/>
          </a:xfrm>
        </p:spPr>
        <p:txBody>
          <a:bodyPr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accent5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</p:spTree>
    <p:extLst>
      <p:ext uri="{BB962C8B-B14F-4D97-AF65-F5344CB8AC3E}">
        <p14:creationId xmlns:p14="http://schemas.microsoft.com/office/powerpoint/2010/main" val="2566299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1 stri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76948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3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3753038"/>
            <a:ext cx="11654798" cy="2723965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550050" y="5302370"/>
            <a:ext cx="9560526" cy="430887"/>
          </a:xfrm>
          <a:noFill/>
        </p:spPr>
        <p:txBody>
          <a:bodyPr wrap="square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50050" y="4869161"/>
            <a:ext cx="9560526" cy="249299"/>
          </a:xfrm>
          <a:noFill/>
        </p:spPr>
        <p:txBody>
          <a:bodyPr wrap="square">
            <a:sp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Ergänzender Untertitel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50050" y="4033640"/>
            <a:ext cx="9560526" cy="830997"/>
          </a:xfrm>
          <a:noFill/>
        </p:spPr>
        <p:txBody>
          <a:bodyPr anchor="t"/>
          <a:lstStyle>
            <a:lvl1pPr algn="l">
              <a:lnSpc>
                <a:spcPct val="90000"/>
              </a:lnSpc>
              <a:spcAft>
                <a:spcPts val="0"/>
              </a:spcAft>
              <a:defRPr sz="30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</a:t>
            </a:r>
            <a:br>
              <a:rPr lang="de-DE" dirty="0" smtClean="0"/>
            </a:br>
            <a:r>
              <a:rPr lang="de-DE" dirty="0" smtClean="0"/>
              <a:t>Titel der Präsent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1157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k_Titel 3 strip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304721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0"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6" name="Grafik 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" t="26319" r="11086" b="4963"/>
          <a:stretch/>
        </p:blipFill>
        <p:spPr>
          <a:xfrm flipH="1">
            <a:off x="-3" y="-63388"/>
            <a:ext cx="12212001" cy="7129728"/>
          </a:xfrm>
          <a:prstGeom prst="rect">
            <a:avLst/>
          </a:prstGeom>
        </p:spPr>
      </p:pic>
      <p:sp>
        <p:nvSpPr>
          <p:cNvPr id="44" name="Textplatzhalter 43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043916"/>
            <a:ext cx="7751763" cy="634456"/>
          </a:xfrm>
          <a:solidFill>
            <a:schemeClr val="accent5"/>
          </a:solidFill>
        </p:spPr>
        <p:txBody>
          <a:bodyPr wrap="none" lIns="648000" tIns="100800" rIns="648000" bIns="10080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 sz="1400" baseline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 smtClean="0"/>
              <a:t>Datum  |  Referent</a:t>
            </a:r>
            <a:br>
              <a:rPr lang="de-DE" dirty="0" smtClean="0"/>
            </a:br>
            <a:r>
              <a:rPr lang="de-DE" dirty="0" smtClean="0"/>
              <a:t>Absender: thyssenkrupp + BA  (optional weitere Managementstruktur/keine Legal Entity)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1" y="656692"/>
            <a:ext cx="4440924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algn="l">
              <a:spcAft>
                <a:spcPts val="0"/>
              </a:spcAft>
              <a:defRPr sz="3000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rägnanter Titel der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1" y="1350304"/>
            <a:ext cx="3307601" cy="621612"/>
          </a:xfrm>
          <a:solidFill>
            <a:schemeClr val="accent5"/>
          </a:solidFill>
        </p:spPr>
        <p:txBody>
          <a:bodyPr wrap="none" lIns="648000" tIns="79200" rIns="648000" bIns="79200">
            <a:spAutoFit/>
          </a:bodyPr>
          <a:lstStyle>
            <a:lvl1pPr marL="0" indent="0" algn="l">
              <a:spcAft>
                <a:spcPts val="0"/>
              </a:spcAft>
              <a:buNone/>
              <a:defRPr sz="3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Präsentation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84" y="4623856"/>
            <a:ext cx="11527200" cy="1714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44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</p:spTree>
    <p:extLst>
      <p:ext uri="{BB962C8B-B14F-4D97-AF65-F5344CB8AC3E}">
        <p14:creationId xmlns:p14="http://schemas.microsoft.com/office/powerpoint/2010/main" val="2092215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 + Text +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332893" y="1520824"/>
            <a:ext cx="5521540" cy="4536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3803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180000" indent="-1800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>
          <a:xfrm>
            <a:off x="334434" y="260351"/>
            <a:ext cx="11519999" cy="338554"/>
          </a:xfrm>
        </p:spPr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9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k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6164399"/>
            <a:ext cx="10706097" cy="144922"/>
          </a:xfrm>
          <a:noFill/>
          <a:ln w="19050">
            <a:noFill/>
            <a:miter lim="800000"/>
            <a:headEnd/>
            <a:tailEnd/>
          </a:ln>
        </p:spPr>
        <p:txBody>
          <a:bodyPr vert="horz" wrap="square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None/>
              <a:defRPr lang="de-DE" sz="800" dirty="0" smtClean="0">
                <a:solidFill>
                  <a:schemeClr val="tx1"/>
                </a:solidFill>
                <a:latin typeface="TKTypeMedium" panose="020B0603040202020204" pitchFamily="34" charset="0"/>
              </a:defRPr>
            </a:lvl1pPr>
            <a:lvl2pPr marL="180975" indent="0">
              <a:buNone/>
              <a:defRPr lang="de-DE" sz="800" dirty="0" smtClean="0">
                <a:solidFill>
                  <a:schemeClr val="tx2"/>
                </a:solidFill>
              </a:defRPr>
            </a:lvl2pPr>
            <a:lvl3pPr marL="361950" indent="0">
              <a:buNone/>
              <a:defRPr lang="de-DE" sz="800" dirty="0" smtClean="0">
                <a:solidFill>
                  <a:schemeClr val="tx2"/>
                </a:solidFill>
              </a:defRPr>
            </a:lvl3pPr>
            <a:lvl4pPr marL="534988" indent="0">
              <a:buNone/>
              <a:defRPr lang="de-DE" sz="800" dirty="0" smtClean="0">
                <a:solidFill>
                  <a:schemeClr val="tx2"/>
                </a:solidFill>
              </a:defRPr>
            </a:lvl4pPr>
            <a:lvl5pPr marL="715962" indent="0">
              <a:buNone/>
              <a:defRPr lang="de-DE" sz="800" dirty="0">
                <a:solidFill>
                  <a:schemeClr val="tx2"/>
                </a:solidFill>
              </a:defRPr>
            </a:lvl5pPr>
          </a:lstStyle>
          <a:p>
            <a:pPr marL="0" lvl="0" indent="0">
              <a:lnSpc>
                <a:spcPct val="100000"/>
              </a:lnSpc>
              <a:buClr>
                <a:schemeClr val="tx2"/>
              </a:buClr>
            </a:pPr>
            <a:r>
              <a:rPr lang="de-DE" dirty="0" smtClean="0"/>
              <a:t>Platzhalter Quellenangabe und Fußnote: Fußnoten nummeriert (keine *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DE" dirty="0" smtClean="0"/>
              <a:t>Headline max. zweizeilig 22 </a:t>
            </a:r>
            <a:r>
              <a:rPr lang="de-DE" dirty="0" err="1" smtClean="0"/>
              <a:t>pt</a:t>
            </a:r>
            <a:r>
              <a:rPr lang="de-DE" dirty="0" smtClean="0"/>
              <a:t> </a:t>
            </a:r>
            <a:r>
              <a:rPr lang="de-DE" dirty="0" err="1" smtClean="0"/>
              <a:t>tk</a:t>
            </a:r>
            <a:r>
              <a:rPr lang="de-DE" dirty="0" smtClean="0"/>
              <a:t> Brand Blue (</a:t>
            </a:r>
            <a:r>
              <a:rPr lang="de-DE" dirty="0" err="1" smtClean="0"/>
              <a:t>Subline</a:t>
            </a:r>
            <a:r>
              <a:rPr lang="de-DE" dirty="0" smtClean="0"/>
              <a:t> einzeilig 18 </a:t>
            </a:r>
            <a:r>
              <a:rPr lang="de-DE" dirty="0" err="1" smtClean="0"/>
              <a:t>pt</a:t>
            </a:r>
            <a:r>
              <a:rPr lang="de-DE" dirty="0" smtClean="0"/>
              <a:t> grau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94232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6627681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1" name="think-cell Folie" r:id="rId11" imgW="344" imgH="344" progId="TCLayout.ActiveDocument.1">
                  <p:embed/>
                </p:oleObj>
              </mc:Choice>
              <mc:Fallback>
                <p:oleObj name="think-cell Folie" r:id="rId11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/>
          <p:cNvSpPr>
            <a:spLocks/>
          </p:cNvSpPr>
          <p:nvPr/>
        </p:nvSpPr>
        <p:spPr>
          <a:xfrm>
            <a:off x="334434" y="6408795"/>
            <a:ext cx="10706100" cy="12311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marL="0" marR="0" lvl="0" indent="-2520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noProof="0" dirty="0" smtClean="0">
                <a:solidFill>
                  <a:schemeClr val="bg2"/>
                </a:solidFill>
              </a:rPr>
              <a:t>thyssenkrupp Materials Services 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|  CSC-MI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338554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34434" y="1520824"/>
            <a:ext cx="11519999" cy="45364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Sechste Ebene</a:t>
            </a:r>
          </a:p>
          <a:p>
            <a:pPr lvl="6"/>
            <a:r>
              <a:rPr lang="de-DE" dirty="0" smtClean="0"/>
              <a:t>Siebte Ebene</a:t>
            </a:r>
          </a:p>
          <a:p>
            <a:pPr lvl="7"/>
            <a:r>
              <a:rPr lang="de-DE" dirty="0" smtClean="0"/>
              <a:t>Achte Ebene</a:t>
            </a:r>
          </a:p>
          <a:p>
            <a:pPr lvl="8"/>
            <a:r>
              <a:rPr lang="de-DE" dirty="0" smtClean="0"/>
              <a:t>Neunte Ebene</a:t>
            </a:r>
            <a:endParaRPr lang="de-DE" dirty="0"/>
          </a:p>
        </p:txBody>
      </p:sp>
      <p:sp>
        <p:nvSpPr>
          <p:cNvPr id="7" name="Rechteck 6"/>
          <p:cNvSpPr>
            <a:spLocks/>
          </p:cNvSpPr>
          <p:nvPr/>
        </p:nvSpPr>
        <p:spPr>
          <a:xfrm>
            <a:off x="334433" y="6541362"/>
            <a:ext cx="336000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fld id="{93956F12-A918-41A9-A38F-C36C1096EDCE}" type="slidenum">
              <a:rPr lang="de-DE" sz="800" smtClean="0">
                <a:solidFill>
                  <a:schemeClr val="bg2"/>
                </a:solidFill>
              </a:rPr>
              <a:pPr lvl="0">
                <a:lnSpc>
                  <a:spcPct val="90000"/>
                </a:lnSpc>
              </a:pPr>
              <a:t>‹Nr.›</a:t>
            </a:fld>
            <a:endParaRPr lang="de-DE" sz="800" dirty="0" smtClean="0">
              <a:solidFill>
                <a:schemeClr val="bg2"/>
              </a:solidFill>
            </a:endParaRPr>
          </a:p>
        </p:txBody>
      </p:sp>
      <p:sp>
        <p:nvSpPr>
          <p:cNvPr id="11" name="Rechteck 10"/>
          <p:cNvSpPr>
            <a:spLocks/>
          </p:cNvSpPr>
          <p:nvPr/>
        </p:nvSpPr>
        <p:spPr>
          <a:xfrm>
            <a:off x="622482" y="6541362"/>
            <a:ext cx="10418052" cy="110800"/>
          </a:xfrm>
          <a:prstGeom prst="rect">
            <a:avLst/>
          </a:prstGeom>
          <a:noFill/>
        </p:spPr>
        <p:txBody>
          <a:bodyPr wrap="none" lIns="0" tIns="0" rIns="0" bIns="0" rtlCol="0" anchor="b" anchorCtr="0">
            <a:noAutofit/>
          </a:bodyPr>
          <a:lstStyle/>
          <a:p>
            <a:pPr lvl="0">
              <a:lnSpc>
                <a:spcPct val="90000"/>
              </a:lnSpc>
            </a:pPr>
            <a:r>
              <a:rPr lang="en-US" sz="800" noProof="0" dirty="0" smtClean="0">
                <a:solidFill>
                  <a:schemeClr val="bg2"/>
                </a:solidFill>
              </a:rPr>
              <a:t>|  April 2019  |  Customer Survey</a:t>
            </a:r>
            <a:r>
              <a:rPr lang="en-US" sz="800" baseline="0" noProof="0" dirty="0" smtClean="0">
                <a:solidFill>
                  <a:schemeClr val="bg2"/>
                </a:solidFill>
              </a:rPr>
              <a:t> @MX | Red Alert approach</a:t>
            </a:r>
            <a:endParaRPr lang="en-US" sz="800" noProof="0" dirty="0" smtClean="0">
              <a:solidFill>
                <a:schemeClr val="bg2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84471" y="6272825"/>
            <a:ext cx="372567" cy="37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728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7" r:id="rId3"/>
    <p:sldLayoutId id="2147483656" r:id="rId4"/>
    <p:sldLayoutId id="2147483650" r:id="rId5"/>
    <p:sldLayoutId id="2147483658" r:id="rId6"/>
    <p:sldLayoutId id="2147483659" r:id="rId7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795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975" algn="l" defTabSz="914400" rtl="0" eaLnBrk="1" latinLnBrk="0" hangingPunct="1">
        <a:spcBef>
          <a:spcPts val="1200"/>
        </a:spcBef>
        <a:spcAft>
          <a:spcPts val="0"/>
        </a:spcAft>
        <a:buClr>
          <a:schemeClr val="accent5"/>
        </a:buClr>
        <a:buFont typeface="TKTypeMedium" panose="020B060304020202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oleObject" Target="../embeddings/oleObject6.bin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notesSlide" Target="../notesSlides/notesSlide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tags" Target="../tags/tag11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10.xml"/><Relationship Id="rId15" Type="http://schemas.openxmlformats.org/officeDocument/2006/relationships/image" Target="../media/image9.png"/><Relationship Id="rId10" Type="http://schemas.openxmlformats.org/officeDocument/2006/relationships/tags" Target="../tags/tag1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7454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" name="think-cell Folie" r:id="rId13" imgW="270" imgH="270" progId="TCLayout.ActiveDocument.1">
                  <p:embed/>
                </p:oleObj>
              </mc:Choice>
              <mc:Fallback>
                <p:oleObj name="think-cell Foli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dirty="0" err="1" smtClean="0">
              <a:solidFill>
                <a:schemeClr val="tx1"/>
              </a:solidFill>
              <a:latin typeface="TKTypeMedium" panose="020B0606040502020204" pitchFamily="34" charset="0"/>
              <a:ea typeface="+mj-ea"/>
              <a:cs typeface="+mj-cs"/>
              <a:sym typeface="TKTypeMedium" panose="020B0606040502020204" pitchFamily="34" charset="0"/>
            </a:endParaRPr>
          </a:p>
        </p:txBody>
      </p:sp>
      <p:sp>
        <p:nvSpPr>
          <p:cNvPr id="182" name="Rechteck 181"/>
          <p:cNvSpPr/>
          <p:nvPr/>
        </p:nvSpPr>
        <p:spPr>
          <a:xfrm>
            <a:off x="9340046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C / D customer</a:t>
            </a:r>
          </a:p>
        </p:txBody>
      </p:sp>
      <p:sp>
        <p:nvSpPr>
          <p:cNvPr id="154" name="Rechteck 153"/>
          <p:cNvSpPr/>
          <p:nvPr/>
        </p:nvSpPr>
        <p:spPr>
          <a:xfrm>
            <a:off x="6926161" y="3532584"/>
            <a:ext cx="2410199" cy="36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A / B customer</a:t>
            </a:r>
          </a:p>
        </p:txBody>
      </p:sp>
      <p:sp>
        <p:nvSpPr>
          <p:cNvPr id="175" name="Rectangle 99"/>
          <p:cNvSpPr>
            <a:spLocks noChangeArrowheads="1"/>
          </p:cNvSpPr>
          <p:nvPr/>
        </p:nvSpPr>
        <p:spPr bwMode="auto">
          <a:xfrm>
            <a:off x="8303155" y="5201068"/>
            <a:ext cx="3447089" cy="92377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 smtClean="0"/>
              <a:t>Fill in the columns A to F</a:t>
            </a:r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b="1" dirty="0" smtClean="0"/>
              <a:t>Important</a:t>
            </a:r>
            <a:r>
              <a:rPr lang="en-US" sz="1200" dirty="0" smtClean="0"/>
              <a:t>: Note </a:t>
            </a:r>
            <a:r>
              <a:rPr lang="en-US" sz="1200" dirty="0"/>
              <a:t>that you need to extract the </a:t>
            </a:r>
            <a:r>
              <a:rPr lang="en-US" sz="1200" dirty="0" smtClean="0"/>
              <a:t>Customer ID </a:t>
            </a:r>
            <a:r>
              <a:rPr lang="en-US" sz="1200" dirty="0"/>
              <a:t>from the Red Alert </a:t>
            </a:r>
            <a:r>
              <a:rPr lang="en-US" sz="1200" dirty="0" smtClean="0"/>
              <a:t>e-mail </a:t>
            </a:r>
          </a:p>
          <a:p>
            <a:pPr marL="18000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 smtClean="0"/>
              <a:t>Transfer </a:t>
            </a:r>
            <a:r>
              <a:rPr lang="en-US" sz="1200" dirty="0"/>
              <a:t>the Excel file to your local contact person of the customer survey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4434" y="260351"/>
            <a:ext cx="11519999" cy="615553"/>
          </a:xfrm>
        </p:spPr>
        <p:txBody>
          <a:bodyPr vert="horz"/>
          <a:lstStyle/>
          <a:p>
            <a:r>
              <a:rPr lang="en-US" dirty="0" smtClean="0"/>
              <a:t>Information about Red Alert definition, process overview and use of Excel templates</a:t>
            </a:r>
            <a:br>
              <a:rPr lang="en-US" dirty="0" smtClean="0"/>
            </a:br>
            <a:r>
              <a:rPr lang="en-US" sz="1800" dirty="0" smtClean="0">
                <a:solidFill>
                  <a:schemeClr val="tx1"/>
                </a:solidFill>
              </a:rPr>
              <a:t>Red alert approach – Sales representative information slide</a:t>
            </a:r>
            <a:endParaRPr lang="en-US" sz="1800" dirty="0">
              <a:solidFill>
                <a:schemeClr val="tx1"/>
              </a:solidFill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334963" y="1348025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1) What is a Red Alert?</a:t>
            </a:r>
            <a:endParaRPr lang="en-US" dirty="0">
              <a:solidFill>
                <a:srgbClr val="00A0F5"/>
              </a:solidFill>
            </a:endParaRPr>
          </a:p>
        </p:txBody>
      </p:sp>
      <p:sp>
        <p:nvSpPr>
          <p:cNvPr id="9" name="Text Box 6"/>
          <p:cNvSpPr txBox="1">
            <a:spLocks noChangeArrowheads="1"/>
          </p:cNvSpPr>
          <p:nvPr/>
        </p:nvSpPr>
        <p:spPr bwMode="auto">
          <a:xfrm>
            <a:off x="334963" y="3955651"/>
            <a:ext cx="4927779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2</a:t>
            </a:r>
            <a:r>
              <a:rPr lang="en-US" dirty="0">
                <a:solidFill>
                  <a:srgbClr val="00A0F5"/>
                </a:solidFill>
              </a:rPr>
              <a:t>) Processing of </a:t>
            </a:r>
            <a:r>
              <a:rPr lang="en-US" dirty="0" smtClean="0">
                <a:solidFill>
                  <a:srgbClr val="00A0F5"/>
                </a:solidFill>
              </a:rPr>
              <a:t>Red Alerts </a:t>
            </a:r>
            <a:r>
              <a:rPr lang="en-US" dirty="0">
                <a:solidFill>
                  <a:srgbClr val="00A0F5"/>
                </a:solidFill>
              </a:rPr>
              <a:t>after automated notification </a:t>
            </a:r>
          </a:p>
        </p:txBody>
      </p:sp>
      <p:cxnSp>
        <p:nvCxnSpPr>
          <p:cNvPr id="10" name="Gerade Verbindung 9"/>
          <p:cNvCxnSpPr/>
          <p:nvPr/>
        </p:nvCxnSpPr>
        <p:spPr>
          <a:xfrm>
            <a:off x="334962" y="4287055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 Box 6"/>
          <p:cNvSpPr txBox="1">
            <a:spLocks noChangeArrowheads="1"/>
          </p:cNvSpPr>
          <p:nvPr/>
        </p:nvSpPr>
        <p:spPr bwMode="auto">
          <a:xfrm>
            <a:off x="6465579" y="3076217"/>
            <a:ext cx="5147694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4</a:t>
            </a:r>
            <a:r>
              <a:rPr lang="en-US" dirty="0">
                <a:solidFill>
                  <a:srgbClr val="00A0F5"/>
                </a:solidFill>
              </a:rPr>
              <a:t>) When to contact different customer groups</a:t>
            </a:r>
            <a:r>
              <a:rPr lang="en-US" dirty="0" smtClean="0">
                <a:solidFill>
                  <a:srgbClr val="00A0F5"/>
                </a:solidFill>
              </a:rPr>
              <a:t>?</a:t>
            </a:r>
            <a:endParaRPr lang="en-US" dirty="0">
              <a:solidFill>
                <a:srgbClr val="00A0F5"/>
              </a:solidFill>
            </a:endParaRPr>
          </a:p>
        </p:txBody>
      </p:sp>
      <p:cxnSp>
        <p:nvCxnSpPr>
          <p:cNvPr id="37" name="Gerade Verbindung 36"/>
          <p:cNvCxnSpPr/>
          <p:nvPr/>
        </p:nvCxnSpPr>
        <p:spPr>
          <a:xfrm>
            <a:off x="6449381" y="3407621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 Box 6"/>
          <p:cNvSpPr txBox="1">
            <a:spLocks noChangeArrowheads="1"/>
          </p:cNvSpPr>
          <p:nvPr/>
        </p:nvSpPr>
        <p:spPr bwMode="auto">
          <a:xfrm>
            <a:off x="6465578" y="1348025"/>
            <a:ext cx="5147695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3</a:t>
            </a:r>
            <a:r>
              <a:rPr lang="en-US" dirty="0">
                <a:solidFill>
                  <a:srgbClr val="00A0F5"/>
                </a:solidFill>
              </a:rPr>
              <a:t>) Relevant questions for customer interview</a:t>
            </a:r>
          </a:p>
        </p:txBody>
      </p:sp>
      <p:cxnSp>
        <p:nvCxnSpPr>
          <p:cNvPr id="35" name="Gerade Verbindung 34"/>
          <p:cNvCxnSpPr/>
          <p:nvPr/>
        </p:nvCxnSpPr>
        <p:spPr>
          <a:xfrm>
            <a:off x="6449381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Freeform 127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6449381" y="1931984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0" name="Freeform 127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6449381" y="2227887"/>
            <a:ext cx="216000" cy="216000"/>
          </a:xfrm>
          <a:custGeom>
            <a:avLst/>
            <a:gdLst>
              <a:gd name="T0" fmla="*/ 1765 w 3361"/>
              <a:gd name="T1" fmla="*/ 2611 h 3361"/>
              <a:gd name="T2" fmla="*/ 1740 w 3361"/>
              <a:gd name="T3" fmla="*/ 2727 h 3361"/>
              <a:gd name="T4" fmla="*/ 1621 w 3361"/>
              <a:gd name="T5" fmla="*/ 2727 h 3361"/>
              <a:gd name="T6" fmla="*/ 1596 w 3361"/>
              <a:gd name="T7" fmla="*/ 2611 h 3361"/>
              <a:gd name="T8" fmla="*/ 1679 w 3361"/>
              <a:gd name="T9" fmla="*/ 553 h 3361"/>
              <a:gd name="T10" fmla="*/ 2051 w 3361"/>
              <a:gd name="T11" fmla="*/ 659 h 3361"/>
              <a:gd name="T12" fmla="*/ 2304 w 3361"/>
              <a:gd name="T13" fmla="*/ 936 h 3361"/>
              <a:gd name="T14" fmla="*/ 2376 w 3361"/>
              <a:gd name="T15" fmla="*/ 1319 h 3361"/>
              <a:gd name="T16" fmla="*/ 2237 w 3361"/>
              <a:gd name="T17" fmla="*/ 1674 h 3361"/>
              <a:gd name="T18" fmla="*/ 1936 w 3361"/>
              <a:gd name="T19" fmla="*/ 1902 h 3361"/>
              <a:gd name="T20" fmla="*/ 1737 w 3361"/>
              <a:gd name="T21" fmla="*/ 2280 h 3361"/>
              <a:gd name="T22" fmla="*/ 1648 w 3361"/>
              <a:gd name="T23" fmla="*/ 2304 h 3361"/>
              <a:gd name="T24" fmla="*/ 1617 w 3361"/>
              <a:gd name="T25" fmla="*/ 1868 h 3361"/>
              <a:gd name="T26" fmla="*/ 1739 w 3361"/>
              <a:gd name="T27" fmla="*/ 1816 h 3361"/>
              <a:gd name="T28" fmla="*/ 2041 w 3361"/>
              <a:gd name="T29" fmla="*/ 1690 h 3361"/>
              <a:gd name="T30" fmla="*/ 2222 w 3361"/>
              <a:gd name="T31" fmla="*/ 1420 h 3361"/>
              <a:gd name="T32" fmla="*/ 2222 w 3361"/>
              <a:gd name="T33" fmla="*/ 1083 h 3361"/>
              <a:gd name="T34" fmla="*/ 2041 w 3361"/>
              <a:gd name="T35" fmla="*/ 814 h 3361"/>
              <a:gd name="T36" fmla="*/ 1739 w 3361"/>
              <a:gd name="T37" fmla="*/ 686 h 3361"/>
              <a:gd name="T38" fmla="*/ 1410 w 3361"/>
              <a:gd name="T39" fmla="*/ 753 h 3361"/>
              <a:gd name="T40" fmla="*/ 1181 w 3361"/>
              <a:gd name="T41" fmla="*/ 981 h 3361"/>
              <a:gd name="T42" fmla="*/ 1110 w 3361"/>
              <a:gd name="T43" fmla="*/ 1269 h 3361"/>
              <a:gd name="T44" fmla="*/ 1030 w 3361"/>
              <a:gd name="T45" fmla="*/ 1315 h 3361"/>
              <a:gd name="T46" fmla="*/ 985 w 3361"/>
              <a:gd name="T47" fmla="*/ 1184 h 3361"/>
              <a:gd name="T48" fmla="*/ 1124 w 3361"/>
              <a:gd name="T49" fmla="*/ 829 h 3361"/>
              <a:gd name="T50" fmla="*/ 1424 w 3361"/>
              <a:gd name="T51" fmla="*/ 602 h 3361"/>
              <a:gd name="T52" fmla="*/ 1583 w 3361"/>
              <a:gd name="T53" fmla="*/ 133 h 3361"/>
              <a:gd name="T54" fmla="*/ 1036 w 3361"/>
              <a:gd name="T55" fmla="*/ 272 h 3361"/>
              <a:gd name="T56" fmla="*/ 586 w 3361"/>
              <a:gd name="T57" fmla="*/ 586 h 3361"/>
              <a:gd name="T58" fmla="*/ 272 w 3361"/>
              <a:gd name="T59" fmla="*/ 1036 h 3361"/>
              <a:gd name="T60" fmla="*/ 133 w 3361"/>
              <a:gd name="T61" fmla="*/ 1583 h 3361"/>
              <a:gd name="T62" fmla="*/ 204 w 3361"/>
              <a:gd name="T63" fmla="*/ 2152 h 3361"/>
              <a:gd name="T64" fmla="*/ 463 w 3361"/>
              <a:gd name="T65" fmla="*/ 2639 h 3361"/>
              <a:gd name="T66" fmla="*/ 873 w 3361"/>
              <a:gd name="T67" fmla="*/ 3002 h 3361"/>
              <a:gd name="T68" fmla="*/ 1392 w 3361"/>
              <a:gd name="T69" fmla="*/ 3203 h 3361"/>
              <a:gd name="T70" fmla="*/ 1969 w 3361"/>
              <a:gd name="T71" fmla="*/ 3203 h 3361"/>
              <a:gd name="T72" fmla="*/ 2488 w 3361"/>
              <a:gd name="T73" fmla="*/ 3002 h 3361"/>
              <a:gd name="T74" fmla="*/ 2898 w 3361"/>
              <a:gd name="T75" fmla="*/ 2639 h 3361"/>
              <a:gd name="T76" fmla="*/ 3157 w 3361"/>
              <a:gd name="T77" fmla="*/ 2152 h 3361"/>
              <a:gd name="T78" fmla="*/ 3228 w 3361"/>
              <a:gd name="T79" fmla="*/ 1583 h 3361"/>
              <a:gd name="T80" fmla="*/ 3089 w 3361"/>
              <a:gd name="T81" fmla="*/ 1036 h 3361"/>
              <a:gd name="T82" fmla="*/ 2775 w 3361"/>
              <a:gd name="T83" fmla="*/ 586 h 3361"/>
              <a:gd name="T84" fmla="*/ 2325 w 3361"/>
              <a:gd name="T85" fmla="*/ 272 h 3361"/>
              <a:gd name="T86" fmla="*/ 1778 w 3361"/>
              <a:gd name="T87" fmla="*/ 133 h 3361"/>
              <a:gd name="T88" fmla="*/ 1982 w 3361"/>
              <a:gd name="T89" fmla="*/ 27 h 3361"/>
              <a:gd name="T90" fmla="*/ 2528 w 3361"/>
              <a:gd name="T91" fmla="*/ 230 h 3361"/>
              <a:gd name="T92" fmla="*/ 2965 w 3361"/>
              <a:gd name="T93" fmla="*/ 599 h 3361"/>
              <a:gd name="T94" fmla="*/ 3256 w 3361"/>
              <a:gd name="T95" fmla="*/ 1095 h 3361"/>
              <a:gd name="T96" fmla="*/ 3361 w 3361"/>
              <a:gd name="T97" fmla="*/ 1680 h 3361"/>
              <a:gd name="T98" fmla="*/ 3256 w 3361"/>
              <a:gd name="T99" fmla="*/ 2266 h 3361"/>
              <a:gd name="T100" fmla="*/ 2965 w 3361"/>
              <a:gd name="T101" fmla="*/ 2762 h 3361"/>
              <a:gd name="T102" fmla="*/ 2528 w 3361"/>
              <a:gd name="T103" fmla="*/ 3131 h 3361"/>
              <a:gd name="T104" fmla="*/ 1982 w 3361"/>
              <a:gd name="T105" fmla="*/ 3334 h 3361"/>
              <a:gd name="T106" fmla="*/ 1379 w 3361"/>
              <a:gd name="T107" fmla="*/ 3334 h 3361"/>
              <a:gd name="T108" fmla="*/ 833 w 3361"/>
              <a:gd name="T109" fmla="*/ 3131 h 3361"/>
              <a:gd name="T110" fmla="*/ 396 w 3361"/>
              <a:gd name="T111" fmla="*/ 2762 h 3361"/>
              <a:gd name="T112" fmla="*/ 105 w 3361"/>
              <a:gd name="T113" fmla="*/ 2266 h 3361"/>
              <a:gd name="T114" fmla="*/ 0 w 3361"/>
              <a:gd name="T115" fmla="*/ 1680 h 3361"/>
              <a:gd name="T116" fmla="*/ 105 w 3361"/>
              <a:gd name="T117" fmla="*/ 1095 h 3361"/>
              <a:gd name="T118" fmla="*/ 396 w 3361"/>
              <a:gd name="T119" fmla="*/ 599 h 3361"/>
              <a:gd name="T120" fmla="*/ 833 w 3361"/>
              <a:gd name="T121" fmla="*/ 230 h 3361"/>
              <a:gd name="T122" fmla="*/ 1379 w 3361"/>
              <a:gd name="T123" fmla="*/ 27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361" h="3361">
                <a:moveTo>
                  <a:pt x="1679" y="2558"/>
                </a:moveTo>
                <a:lnTo>
                  <a:pt x="1702" y="2561"/>
                </a:lnTo>
                <a:lnTo>
                  <a:pt x="1722" y="2569"/>
                </a:lnTo>
                <a:lnTo>
                  <a:pt x="1740" y="2580"/>
                </a:lnTo>
                <a:lnTo>
                  <a:pt x="1754" y="2594"/>
                </a:lnTo>
                <a:lnTo>
                  <a:pt x="1765" y="2611"/>
                </a:lnTo>
                <a:lnTo>
                  <a:pt x="1772" y="2632"/>
                </a:lnTo>
                <a:lnTo>
                  <a:pt x="1775" y="2653"/>
                </a:lnTo>
                <a:lnTo>
                  <a:pt x="1772" y="2676"/>
                </a:lnTo>
                <a:lnTo>
                  <a:pt x="1765" y="2695"/>
                </a:lnTo>
                <a:lnTo>
                  <a:pt x="1754" y="2712"/>
                </a:lnTo>
                <a:lnTo>
                  <a:pt x="1740" y="2727"/>
                </a:lnTo>
                <a:lnTo>
                  <a:pt x="1722" y="2739"/>
                </a:lnTo>
                <a:lnTo>
                  <a:pt x="1702" y="2746"/>
                </a:lnTo>
                <a:lnTo>
                  <a:pt x="1679" y="2748"/>
                </a:lnTo>
                <a:lnTo>
                  <a:pt x="1659" y="2746"/>
                </a:lnTo>
                <a:lnTo>
                  <a:pt x="1639" y="2739"/>
                </a:lnTo>
                <a:lnTo>
                  <a:pt x="1621" y="2727"/>
                </a:lnTo>
                <a:lnTo>
                  <a:pt x="1606" y="2712"/>
                </a:lnTo>
                <a:lnTo>
                  <a:pt x="1596" y="2695"/>
                </a:lnTo>
                <a:lnTo>
                  <a:pt x="1589" y="2676"/>
                </a:lnTo>
                <a:lnTo>
                  <a:pt x="1586" y="2653"/>
                </a:lnTo>
                <a:lnTo>
                  <a:pt x="1589" y="2632"/>
                </a:lnTo>
                <a:lnTo>
                  <a:pt x="1596" y="2611"/>
                </a:lnTo>
                <a:lnTo>
                  <a:pt x="1606" y="2594"/>
                </a:lnTo>
                <a:lnTo>
                  <a:pt x="1621" y="2580"/>
                </a:lnTo>
                <a:lnTo>
                  <a:pt x="1639" y="2569"/>
                </a:lnTo>
                <a:lnTo>
                  <a:pt x="1659" y="2561"/>
                </a:lnTo>
                <a:lnTo>
                  <a:pt x="1679" y="2558"/>
                </a:lnTo>
                <a:close/>
                <a:moveTo>
                  <a:pt x="1679" y="553"/>
                </a:moveTo>
                <a:lnTo>
                  <a:pt x="1748" y="556"/>
                </a:lnTo>
                <a:lnTo>
                  <a:pt x="1813" y="565"/>
                </a:lnTo>
                <a:lnTo>
                  <a:pt x="1876" y="581"/>
                </a:lnTo>
                <a:lnTo>
                  <a:pt x="1937" y="602"/>
                </a:lnTo>
                <a:lnTo>
                  <a:pt x="1995" y="628"/>
                </a:lnTo>
                <a:lnTo>
                  <a:pt x="2051" y="659"/>
                </a:lnTo>
                <a:lnTo>
                  <a:pt x="2103" y="696"/>
                </a:lnTo>
                <a:lnTo>
                  <a:pt x="2151" y="736"/>
                </a:lnTo>
                <a:lnTo>
                  <a:pt x="2196" y="780"/>
                </a:lnTo>
                <a:lnTo>
                  <a:pt x="2237" y="829"/>
                </a:lnTo>
                <a:lnTo>
                  <a:pt x="2272" y="881"/>
                </a:lnTo>
                <a:lnTo>
                  <a:pt x="2304" y="936"/>
                </a:lnTo>
                <a:lnTo>
                  <a:pt x="2330" y="995"/>
                </a:lnTo>
                <a:lnTo>
                  <a:pt x="2352" y="1056"/>
                </a:lnTo>
                <a:lnTo>
                  <a:pt x="2367" y="1119"/>
                </a:lnTo>
                <a:lnTo>
                  <a:pt x="2376" y="1184"/>
                </a:lnTo>
                <a:lnTo>
                  <a:pt x="2379" y="1252"/>
                </a:lnTo>
                <a:lnTo>
                  <a:pt x="2376" y="1319"/>
                </a:lnTo>
                <a:lnTo>
                  <a:pt x="2367" y="1384"/>
                </a:lnTo>
                <a:lnTo>
                  <a:pt x="2351" y="1447"/>
                </a:lnTo>
                <a:lnTo>
                  <a:pt x="2330" y="1508"/>
                </a:lnTo>
                <a:lnTo>
                  <a:pt x="2304" y="1567"/>
                </a:lnTo>
                <a:lnTo>
                  <a:pt x="2272" y="1622"/>
                </a:lnTo>
                <a:lnTo>
                  <a:pt x="2237" y="1674"/>
                </a:lnTo>
                <a:lnTo>
                  <a:pt x="2196" y="1723"/>
                </a:lnTo>
                <a:lnTo>
                  <a:pt x="2151" y="1768"/>
                </a:lnTo>
                <a:lnTo>
                  <a:pt x="2102" y="1808"/>
                </a:lnTo>
                <a:lnTo>
                  <a:pt x="2050" y="1844"/>
                </a:lnTo>
                <a:lnTo>
                  <a:pt x="1994" y="1876"/>
                </a:lnTo>
                <a:lnTo>
                  <a:pt x="1936" y="1902"/>
                </a:lnTo>
                <a:lnTo>
                  <a:pt x="1875" y="1923"/>
                </a:lnTo>
                <a:lnTo>
                  <a:pt x="1812" y="1938"/>
                </a:lnTo>
                <a:lnTo>
                  <a:pt x="1746" y="1947"/>
                </a:lnTo>
                <a:lnTo>
                  <a:pt x="1746" y="2247"/>
                </a:lnTo>
                <a:lnTo>
                  <a:pt x="1744" y="2265"/>
                </a:lnTo>
                <a:lnTo>
                  <a:pt x="1737" y="2280"/>
                </a:lnTo>
                <a:lnTo>
                  <a:pt x="1726" y="2294"/>
                </a:lnTo>
                <a:lnTo>
                  <a:pt x="1713" y="2304"/>
                </a:lnTo>
                <a:lnTo>
                  <a:pt x="1698" y="2310"/>
                </a:lnTo>
                <a:lnTo>
                  <a:pt x="1679" y="2313"/>
                </a:lnTo>
                <a:lnTo>
                  <a:pt x="1663" y="2310"/>
                </a:lnTo>
                <a:lnTo>
                  <a:pt x="1648" y="2304"/>
                </a:lnTo>
                <a:lnTo>
                  <a:pt x="1635" y="2294"/>
                </a:lnTo>
                <a:lnTo>
                  <a:pt x="1624" y="2280"/>
                </a:lnTo>
                <a:lnTo>
                  <a:pt x="1617" y="2265"/>
                </a:lnTo>
                <a:lnTo>
                  <a:pt x="1615" y="2247"/>
                </a:lnTo>
                <a:lnTo>
                  <a:pt x="1615" y="1885"/>
                </a:lnTo>
                <a:lnTo>
                  <a:pt x="1617" y="1868"/>
                </a:lnTo>
                <a:lnTo>
                  <a:pt x="1624" y="1852"/>
                </a:lnTo>
                <a:lnTo>
                  <a:pt x="1635" y="1838"/>
                </a:lnTo>
                <a:lnTo>
                  <a:pt x="1648" y="1828"/>
                </a:lnTo>
                <a:lnTo>
                  <a:pt x="1663" y="1822"/>
                </a:lnTo>
                <a:lnTo>
                  <a:pt x="1679" y="1819"/>
                </a:lnTo>
                <a:lnTo>
                  <a:pt x="1739" y="1816"/>
                </a:lnTo>
                <a:lnTo>
                  <a:pt x="1795" y="1808"/>
                </a:lnTo>
                <a:lnTo>
                  <a:pt x="1850" y="1794"/>
                </a:lnTo>
                <a:lnTo>
                  <a:pt x="1902" y="1774"/>
                </a:lnTo>
                <a:lnTo>
                  <a:pt x="1951" y="1751"/>
                </a:lnTo>
                <a:lnTo>
                  <a:pt x="1997" y="1722"/>
                </a:lnTo>
                <a:lnTo>
                  <a:pt x="2041" y="1690"/>
                </a:lnTo>
                <a:lnTo>
                  <a:pt x="2082" y="1653"/>
                </a:lnTo>
                <a:lnTo>
                  <a:pt x="2118" y="1612"/>
                </a:lnTo>
                <a:lnTo>
                  <a:pt x="2151" y="1568"/>
                </a:lnTo>
                <a:lnTo>
                  <a:pt x="2180" y="1522"/>
                </a:lnTo>
                <a:lnTo>
                  <a:pt x="2204" y="1473"/>
                </a:lnTo>
                <a:lnTo>
                  <a:pt x="2222" y="1420"/>
                </a:lnTo>
                <a:lnTo>
                  <a:pt x="2237" y="1366"/>
                </a:lnTo>
                <a:lnTo>
                  <a:pt x="2246" y="1310"/>
                </a:lnTo>
                <a:lnTo>
                  <a:pt x="2248" y="1252"/>
                </a:lnTo>
                <a:lnTo>
                  <a:pt x="2246" y="1194"/>
                </a:lnTo>
                <a:lnTo>
                  <a:pt x="2237" y="1138"/>
                </a:lnTo>
                <a:lnTo>
                  <a:pt x="2222" y="1083"/>
                </a:lnTo>
                <a:lnTo>
                  <a:pt x="2204" y="1031"/>
                </a:lnTo>
                <a:lnTo>
                  <a:pt x="2180" y="981"/>
                </a:lnTo>
                <a:lnTo>
                  <a:pt x="2151" y="934"/>
                </a:lnTo>
                <a:lnTo>
                  <a:pt x="2118" y="890"/>
                </a:lnTo>
                <a:lnTo>
                  <a:pt x="2082" y="850"/>
                </a:lnTo>
                <a:lnTo>
                  <a:pt x="2041" y="814"/>
                </a:lnTo>
                <a:lnTo>
                  <a:pt x="1997" y="781"/>
                </a:lnTo>
                <a:lnTo>
                  <a:pt x="1951" y="753"/>
                </a:lnTo>
                <a:lnTo>
                  <a:pt x="1902" y="728"/>
                </a:lnTo>
                <a:lnTo>
                  <a:pt x="1850" y="709"/>
                </a:lnTo>
                <a:lnTo>
                  <a:pt x="1795" y="696"/>
                </a:lnTo>
                <a:lnTo>
                  <a:pt x="1739" y="686"/>
                </a:lnTo>
                <a:lnTo>
                  <a:pt x="1679" y="683"/>
                </a:lnTo>
                <a:lnTo>
                  <a:pt x="1622" y="686"/>
                </a:lnTo>
                <a:lnTo>
                  <a:pt x="1566" y="696"/>
                </a:lnTo>
                <a:lnTo>
                  <a:pt x="1511" y="709"/>
                </a:lnTo>
                <a:lnTo>
                  <a:pt x="1459" y="728"/>
                </a:lnTo>
                <a:lnTo>
                  <a:pt x="1410" y="753"/>
                </a:lnTo>
                <a:lnTo>
                  <a:pt x="1363" y="781"/>
                </a:lnTo>
                <a:lnTo>
                  <a:pt x="1320" y="814"/>
                </a:lnTo>
                <a:lnTo>
                  <a:pt x="1279" y="850"/>
                </a:lnTo>
                <a:lnTo>
                  <a:pt x="1243" y="890"/>
                </a:lnTo>
                <a:lnTo>
                  <a:pt x="1210" y="934"/>
                </a:lnTo>
                <a:lnTo>
                  <a:pt x="1181" y="981"/>
                </a:lnTo>
                <a:lnTo>
                  <a:pt x="1157" y="1031"/>
                </a:lnTo>
                <a:lnTo>
                  <a:pt x="1139" y="1083"/>
                </a:lnTo>
                <a:lnTo>
                  <a:pt x="1124" y="1138"/>
                </a:lnTo>
                <a:lnTo>
                  <a:pt x="1115" y="1194"/>
                </a:lnTo>
                <a:lnTo>
                  <a:pt x="1112" y="1252"/>
                </a:lnTo>
                <a:lnTo>
                  <a:pt x="1110" y="1269"/>
                </a:lnTo>
                <a:lnTo>
                  <a:pt x="1104" y="1284"/>
                </a:lnTo>
                <a:lnTo>
                  <a:pt x="1094" y="1298"/>
                </a:lnTo>
                <a:lnTo>
                  <a:pt x="1081" y="1308"/>
                </a:lnTo>
                <a:lnTo>
                  <a:pt x="1064" y="1315"/>
                </a:lnTo>
                <a:lnTo>
                  <a:pt x="1047" y="1317"/>
                </a:lnTo>
                <a:lnTo>
                  <a:pt x="1030" y="1315"/>
                </a:lnTo>
                <a:lnTo>
                  <a:pt x="1014" y="1308"/>
                </a:lnTo>
                <a:lnTo>
                  <a:pt x="1001" y="1298"/>
                </a:lnTo>
                <a:lnTo>
                  <a:pt x="991" y="1284"/>
                </a:lnTo>
                <a:lnTo>
                  <a:pt x="984" y="1269"/>
                </a:lnTo>
                <a:lnTo>
                  <a:pt x="982" y="1252"/>
                </a:lnTo>
                <a:lnTo>
                  <a:pt x="985" y="1184"/>
                </a:lnTo>
                <a:lnTo>
                  <a:pt x="994" y="1119"/>
                </a:lnTo>
                <a:lnTo>
                  <a:pt x="1009" y="1056"/>
                </a:lnTo>
                <a:lnTo>
                  <a:pt x="1031" y="995"/>
                </a:lnTo>
                <a:lnTo>
                  <a:pt x="1057" y="936"/>
                </a:lnTo>
                <a:lnTo>
                  <a:pt x="1089" y="881"/>
                </a:lnTo>
                <a:lnTo>
                  <a:pt x="1124" y="829"/>
                </a:lnTo>
                <a:lnTo>
                  <a:pt x="1165" y="780"/>
                </a:lnTo>
                <a:lnTo>
                  <a:pt x="1210" y="736"/>
                </a:lnTo>
                <a:lnTo>
                  <a:pt x="1258" y="696"/>
                </a:lnTo>
                <a:lnTo>
                  <a:pt x="1310" y="659"/>
                </a:lnTo>
                <a:lnTo>
                  <a:pt x="1366" y="628"/>
                </a:lnTo>
                <a:lnTo>
                  <a:pt x="1424" y="602"/>
                </a:lnTo>
                <a:lnTo>
                  <a:pt x="1485" y="581"/>
                </a:lnTo>
                <a:lnTo>
                  <a:pt x="1548" y="565"/>
                </a:lnTo>
                <a:lnTo>
                  <a:pt x="1613" y="556"/>
                </a:lnTo>
                <a:lnTo>
                  <a:pt x="1679" y="553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681" y="0"/>
                </a:ln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52" name="Textfeld 51"/>
          <p:cNvSpPr txBox="1"/>
          <p:nvPr/>
        </p:nvSpPr>
        <p:spPr>
          <a:xfrm>
            <a:off x="6744072" y="1943034"/>
            <a:ext cx="5018490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/>
              <a:t>What are your reasons for the </a:t>
            </a:r>
            <a:r>
              <a:rPr lang="en-US" sz="1400" dirty="0" smtClean="0"/>
              <a:t>negative assessment? (</a:t>
            </a:r>
            <a:r>
              <a:rPr lang="en-US" sz="1400" dirty="0"/>
              <a:t>NPS </a:t>
            </a:r>
            <a:r>
              <a:rPr lang="en-US" sz="1400" dirty="0" smtClean="0"/>
              <a:t>question)</a:t>
            </a:r>
          </a:p>
        </p:txBody>
      </p:sp>
      <p:sp>
        <p:nvSpPr>
          <p:cNvPr id="53" name="Textfeld 52"/>
          <p:cNvSpPr txBox="1"/>
          <p:nvPr/>
        </p:nvSpPr>
        <p:spPr>
          <a:xfrm>
            <a:off x="6744072" y="2238937"/>
            <a:ext cx="2929007" cy="4647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/>
              <a:t>How can we keep you as our customer</a:t>
            </a:r>
            <a:r>
              <a:rPr lang="en-US" sz="1400" dirty="0" smtClean="0"/>
              <a:t>?</a:t>
            </a:r>
          </a:p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/>
              <a:t>…</a:t>
            </a:r>
          </a:p>
        </p:txBody>
      </p:sp>
      <p:sp>
        <p:nvSpPr>
          <p:cNvPr id="38" name="Text Box 6"/>
          <p:cNvSpPr txBox="1">
            <a:spLocks noChangeArrowheads="1"/>
          </p:cNvSpPr>
          <p:nvPr/>
        </p:nvSpPr>
        <p:spPr bwMode="auto">
          <a:xfrm>
            <a:off x="6449382" y="4616132"/>
            <a:ext cx="5163890" cy="33140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36000" rIns="36000" bIns="36000" anchor="b" anchorCtr="0"/>
          <a:lstStyle>
            <a:defPPr>
              <a:defRPr lang="de-DE"/>
            </a:defPPr>
            <a:lvl1pPr algn="ctr">
              <a:lnSpc>
                <a:spcPct val="90000"/>
              </a:lnSpc>
              <a:defRPr sz="1400">
                <a:solidFill>
                  <a:schemeClr val="accent3"/>
                </a:solidFill>
              </a:defRPr>
            </a:lvl1pPr>
          </a:lstStyle>
          <a:p>
            <a:pPr algn="l"/>
            <a:r>
              <a:rPr lang="en-US" dirty="0" smtClean="0">
                <a:solidFill>
                  <a:srgbClr val="00A0F5"/>
                </a:solidFill>
              </a:rPr>
              <a:t>(5</a:t>
            </a:r>
            <a:r>
              <a:rPr lang="en-US" dirty="0">
                <a:solidFill>
                  <a:srgbClr val="00A0F5"/>
                </a:solidFill>
              </a:rPr>
              <a:t>) How to use the Excel template?</a:t>
            </a:r>
          </a:p>
        </p:txBody>
      </p:sp>
      <p:cxnSp>
        <p:nvCxnSpPr>
          <p:cNvPr id="39" name="Gerade Verbindung 38"/>
          <p:cNvCxnSpPr/>
          <p:nvPr/>
        </p:nvCxnSpPr>
        <p:spPr>
          <a:xfrm>
            <a:off x="6449381" y="4947536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 Verbindung 41"/>
          <p:cNvCxnSpPr/>
          <p:nvPr/>
        </p:nvCxnSpPr>
        <p:spPr>
          <a:xfrm flipV="1">
            <a:off x="6918903" y="3892584"/>
            <a:ext cx="4831342" cy="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feld 42"/>
          <p:cNvSpPr txBox="1"/>
          <p:nvPr/>
        </p:nvSpPr>
        <p:spPr>
          <a:xfrm>
            <a:off x="6925684" y="3926242"/>
            <a:ext cx="2289735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 smtClean="0"/>
              <a:t>~ </a:t>
            </a:r>
            <a:r>
              <a:rPr lang="en-US" sz="1600" dirty="0" smtClean="0">
                <a:solidFill>
                  <a:srgbClr val="C00000"/>
                </a:solidFill>
              </a:rPr>
              <a:t>1-2 working days</a:t>
            </a:r>
          </a:p>
        </p:txBody>
      </p:sp>
      <p:sp>
        <p:nvSpPr>
          <p:cNvPr id="44" name="Textfeld 43"/>
          <p:cNvSpPr txBox="1"/>
          <p:nvPr/>
        </p:nvSpPr>
        <p:spPr>
          <a:xfrm>
            <a:off x="9343620" y="3934738"/>
            <a:ext cx="2406624" cy="2215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600" b="1" dirty="0" smtClean="0"/>
              <a:t>~ </a:t>
            </a:r>
            <a:r>
              <a:rPr lang="en-US" sz="1600" dirty="0" smtClean="0">
                <a:solidFill>
                  <a:srgbClr val="FFC000"/>
                </a:solidFill>
              </a:rPr>
              <a:t>3-4 working days</a:t>
            </a:r>
          </a:p>
        </p:txBody>
      </p:sp>
      <p:cxnSp>
        <p:nvCxnSpPr>
          <p:cNvPr id="46" name="Gerade Verbindung 45"/>
          <p:cNvCxnSpPr/>
          <p:nvPr/>
        </p:nvCxnSpPr>
        <p:spPr>
          <a:xfrm>
            <a:off x="9336360" y="3532584"/>
            <a:ext cx="7260" cy="541189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/>
          <p:nvPr/>
        </p:nvCxnSpPr>
        <p:spPr>
          <a:xfrm>
            <a:off x="6918903" y="3533773"/>
            <a:ext cx="0" cy="54000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Oval 4"/>
          <p:cNvSpPr>
            <a:spLocks noChangeAspect="1" noChangeArrowheads="1"/>
          </p:cNvSpPr>
          <p:nvPr/>
        </p:nvSpPr>
        <p:spPr bwMode="auto">
          <a:xfrm>
            <a:off x="6514496" y="3533773"/>
            <a:ext cx="216000" cy="216000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  <a:extLst/>
        </p:spPr>
        <p:txBody>
          <a:bodyPr wrap="none" lIns="36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200" b="1" dirty="0" smtClean="0">
                <a:solidFill>
                  <a:srgbClr val="FFFFFF"/>
                </a:solidFill>
              </a:rPr>
              <a:t>!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64" name="Textfeld 63"/>
          <p:cNvSpPr txBox="1"/>
          <p:nvPr/>
        </p:nvSpPr>
        <p:spPr>
          <a:xfrm>
            <a:off x="6448826" y="3749773"/>
            <a:ext cx="347339" cy="3877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en-US" sz="1400" dirty="0" smtClean="0"/>
              <a:t>Red</a:t>
            </a:r>
          </a:p>
          <a:p>
            <a:pPr algn="ctr">
              <a:lnSpc>
                <a:spcPct val="90000"/>
              </a:lnSpc>
              <a:spcAft>
                <a:spcPts val="0"/>
              </a:spcAft>
            </a:pPr>
            <a:r>
              <a:rPr lang="en-US" sz="1400" dirty="0"/>
              <a:t>A</a:t>
            </a:r>
            <a:r>
              <a:rPr lang="en-US" sz="1400" dirty="0" smtClean="0"/>
              <a:t>lert</a:t>
            </a:r>
          </a:p>
        </p:txBody>
      </p:sp>
      <p:grpSp>
        <p:nvGrpSpPr>
          <p:cNvPr id="66" name="Gruppieren 65"/>
          <p:cNvGrpSpPr>
            <a:grpSpLocks noChangeAspect="1"/>
          </p:cNvGrpSpPr>
          <p:nvPr/>
        </p:nvGrpSpPr>
        <p:grpSpPr>
          <a:xfrm>
            <a:off x="3236867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67" name="Abgerundetes Rechteck 6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8" name="Abgerundetes Rechteck 6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69" name="Abgerundetes Rechteck 6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0" name="Abgerundetes Rechteck 6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1" name="Abgerundetes Rechteck 7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2" name="Abgerundetes Rechteck 7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3" name="Ellipse 7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82" name="Gruppieren 81"/>
          <p:cNvGrpSpPr>
            <a:grpSpLocks noChangeAspect="1"/>
          </p:cNvGrpSpPr>
          <p:nvPr/>
        </p:nvGrpSpPr>
        <p:grpSpPr>
          <a:xfrm>
            <a:off x="3817248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83" name="Abgerundetes Rechteck 8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4" name="Abgerundetes Rechteck 8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Abgerundetes Rechteck 8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6" name="Abgerundetes Rechteck 8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7" name="Abgerundetes Rechteck 8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8" name="Abgerundetes Rechteck 8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9" name="Ellipse 8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0" name="Gruppieren 89"/>
          <p:cNvGrpSpPr>
            <a:grpSpLocks noChangeAspect="1"/>
          </p:cNvGrpSpPr>
          <p:nvPr/>
        </p:nvGrpSpPr>
        <p:grpSpPr>
          <a:xfrm>
            <a:off x="4397629" y="2510041"/>
            <a:ext cx="176569" cy="360000"/>
            <a:chOff x="3275856" y="1974888"/>
            <a:chExt cx="360000" cy="733992"/>
          </a:xfrm>
          <a:solidFill>
            <a:srgbClr val="FFC000"/>
          </a:solidFill>
        </p:grpSpPr>
        <p:sp>
          <p:nvSpPr>
            <p:cNvPr id="91" name="Abgerundetes Rechteck 9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2" name="Abgerundetes Rechteck 9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3" name="Abgerundetes Rechteck 9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4" name="Abgerundetes Rechteck 9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5" name="Abgerundetes Rechteck 9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6" name="Abgerundetes Rechteck 9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7" name="Ellipse 9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98" name="Gruppieren 97"/>
          <p:cNvGrpSpPr>
            <a:grpSpLocks noChangeAspect="1"/>
          </p:cNvGrpSpPr>
          <p:nvPr/>
        </p:nvGrpSpPr>
        <p:grpSpPr>
          <a:xfrm>
            <a:off x="4978010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99" name="Abgerundetes Rechteck 9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0" name="Abgerundetes Rechteck 9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1" name="Abgerundetes Rechteck 10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2" name="Abgerundetes Rechteck 10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3" name="Abgerundetes Rechteck 10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4" name="Abgerundetes Rechteck 10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5" name="Ellipse 10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22" name="Gruppieren 121"/>
          <p:cNvGrpSpPr>
            <a:grpSpLocks noChangeAspect="1"/>
          </p:cNvGrpSpPr>
          <p:nvPr/>
        </p:nvGrpSpPr>
        <p:grpSpPr>
          <a:xfrm>
            <a:off x="915343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23" name="Abgerundetes Rechteck 122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4" name="Abgerundetes Rechteck 123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5" name="Abgerundetes Rechteck 124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6" name="Abgerundetes Rechteck 125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7" name="Abgerundetes Rechteck 126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8" name="Abgerundetes Rechteck 127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9" name="Ellipse 128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0" name="Gruppieren 129"/>
          <p:cNvGrpSpPr>
            <a:grpSpLocks noChangeAspect="1"/>
          </p:cNvGrpSpPr>
          <p:nvPr/>
        </p:nvGrpSpPr>
        <p:grpSpPr>
          <a:xfrm>
            <a:off x="1495724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1" name="Abgerundetes Rechteck 130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2" name="Abgerundetes Rechteck 131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3" name="Abgerundetes Rechteck 132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4" name="Abgerundetes Rechteck 133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5" name="Abgerundetes Rechteck 134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6" name="Abgerundetes Rechteck 135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37" name="Ellipse 136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8" name="Gruppieren 137"/>
          <p:cNvGrpSpPr>
            <a:grpSpLocks noChangeAspect="1"/>
          </p:cNvGrpSpPr>
          <p:nvPr/>
        </p:nvGrpSpPr>
        <p:grpSpPr>
          <a:xfrm>
            <a:off x="2076105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39" name="Abgerundetes Rechteck 138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0" name="Abgerundetes Rechteck 139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1" name="Abgerundetes Rechteck 140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2" name="Abgerundetes Rechteck 141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3" name="Abgerundetes Rechteck 142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4" name="Abgerundetes Rechteck 143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5" name="Ellipse 144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46" name="Gruppieren 145"/>
          <p:cNvGrpSpPr>
            <a:grpSpLocks noChangeAspect="1"/>
          </p:cNvGrpSpPr>
          <p:nvPr/>
        </p:nvGrpSpPr>
        <p:grpSpPr>
          <a:xfrm>
            <a:off x="2656486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47" name="Abgerundetes Rechteck 14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8" name="Abgerundetes Rechteck 14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9" name="Abgerundetes Rechteck 14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0" name="Abgerundetes Rechteck 14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1" name="Abgerundetes Rechteck 15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2" name="Abgerundetes Rechteck 15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3" name="Ellipse 15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14" name="Gruppieren 113"/>
          <p:cNvGrpSpPr>
            <a:grpSpLocks noChangeAspect="1"/>
          </p:cNvGrpSpPr>
          <p:nvPr/>
        </p:nvGrpSpPr>
        <p:grpSpPr>
          <a:xfrm>
            <a:off x="354678" y="2510041"/>
            <a:ext cx="176569" cy="360000"/>
            <a:chOff x="3275856" y="1974888"/>
            <a:chExt cx="360000" cy="733992"/>
          </a:xfrm>
          <a:solidFill>
            <a:srgbClr val="C00000"/>
          </a:solidFill>
        </p:grpSpPr>
        <p:sp>
          <p:nvSpPr>
            <p:cNvPr id="115" name="Abgerundetes Rechteck 114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6" name="Abgerundetes Rechteck 115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7" name="Abgerundetes Rechteck 116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8" name="Abgerundetes Rechteck 117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9" name="Abgerundetes Rechteck 118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0" name="Abgerundetes Rechteck 119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21" name="Ellipse 120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5" name="Ellipse 154"/>
          <p:cNvSpPr>
            <a:spLocks noChangeAspect="1"/>
          </p:cNvSpPr>
          <p:nvPr/>
        </p:nvSpPr>
        <p:spPr>
          <a:xfrm>
            <a:off x="33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</a:pPr>
            <a:r>
              <a:rPr lang="en-US" sz="1100" b="1" dirty="0" smtClean="0">
                <a:solidFill>
                  <a:schemeClr val="bg1"/>
                </a:solidFill>
              </a:rPr>
              <a:t>1</a:t>
            </a:r>
            <a:endParaRPr lang="en-US" sz="1100" b="1" dirty="0">
              <a:solidFill>
                <a:schemeClr val="bg1"/>
              </a:solidFill>
            </a:endParaRPr>
          </a:p>
        </p:txBody>
      </p:sp>
      <p:cxnSp>
        <p:nvCxnSpPr>
          <p:cNvPr id="8" name="Gerade Verbindung 7"/>
          <p:cNvCxnSpPr/>
          <p:nvPr/>
        </p:nvCxnSpPr>
        <p:spPr>
          <a:xfrm>
            <a:off x="334962" y="1679429"/>
            <a:ext cx="540000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6" name="Gruppieren 105"/>
          <p:cNvGrpSpPr>
            <a:grpSpLocks noChangeAspect="1"/>
          </p:cNvGrpSpPr>
          <p:nvPr/>
        </p:nvGrpSpPr>
        <p:grpSpPr>
          <a:xfrm>
            <a:off x="5538678" y="2510041"/>
            <a:ext cx="176569" cy="360000"/>
            <a:chOff x="3275856" y="1974888"/>
            <a:chExt cx="360000" cy="733992"/>
          </a:xfrm>
          <a:solidFill>
            <a:srgbClr val="00B050"/>
          </a:solidFill>
        </p:grpSpPr>
        <p:sp>
          <p:nvSpPr>
            <p:cNvPr id="107" name="Abgerundetes Rechteck 106"/>
            <p:cNvSpPr/>
            <p:nvPr/>
          </p:nvSpPr>
          <p:spPr>
            <a:xfrm rot="5400000">
              <a:off x="3473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8" name="Abgerundetes Rechteck 107"/>
            <p:cNvSpPr/>
            <p:nvPr/>
          </p:nvSpPr>
          <p:spPr>
            <a:xfrm>
              <a:off x="3365856" y="2132856"/>
              <a:ext cx="180000" cy="288032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Abgerundetes Rechteck 108"/>
            <p:cNvSpPr/>
            <p:nvPr/>
          </p:nvSpPr>
          <p:spPr>
            <a:xfrm rot="5400000">
              <a:off x="3185856" y="2222856"/>
              <a:ext cx="252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0" name="Abgerundetes Rechteck 109"/>
            <p:cNvSpPr/>
            <p:nvPr/>
          </p:nvSpPr>
          <p:spPr>
            <a:xfrm>
              <a:off x="3275856" y="2132856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1" name="Abgerundetes Rechteck 110"/>
            <p:cNvSpPr/>
            <p:nvPr/>
          </p:nvSpPr>
          <p:spPr>
            <a:xfrm rot="5400000">
              <a:off x="3221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2" name="Abgerundetes Rechteck 111"/>
            <p:cNvSpPr/>
            <p:nvPr/>
          </p:nvSpPr>
          <p:spPr>
            <a:xfrm rot="5400000">
              <a:off x="3329856" y="2492880"/>
              <a:ext cx="360000" cy="72000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13" name="Ellipse 112"/>
            <p:cNvSpPr>
              <a:spLocks noChangeAspect="1"/>
            </p:cNvSpPr>
            <p:nvPr/>
          </p:nvSpPr>
          <p:spPr>
            <a:xfrm>
              <a:off x="3383856" y="1974888"/>
              <a:ext cx="144000" cy="144000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90000"/>
                </a:lnSpc>
                <a:spcBef>
                  <a:spcPts val="600"/>
                </a:spcBef>
                <a:spcAft>
                  <a:spcPts val="0"/>
                </a:spcAft>
              </a:pPr>
              <a:endParaRPr lang="en-U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56" name="Ellipse 155"/>
          <p:cNvSpPr>
            <a:spLocks noChangeAspect="1"/>
          </p:cNvSpPr>
          <p:nvPr/>
        </p:nvSpPr>
        <p:spPr>
          <a:xfrm>
            <a:off x="551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157" name="Ellipse 156"/>
          <p:cNvSpPr>
            <a:spLocks noChangeAspect="1"/>
          </p:cNvSpPr>
          <p:nvPr/>
        </p:nvSpPr>
        <p:spPr>
          <a:xfrm>
            <a:off x="91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8" name="Ellipse 157"/>
          <p:cNvSpPr>
            <a:spLocks noChangeAspect="1"/>
          </p:cNvSpPr>
          <p:nvPr/>
        </p:nvSpPr>
        <p:spPr>
          <a:xfrm>
            <a:off x="148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59" name="Ellipse 158"/>
          <p:cNvSpPr>
            <a:spLocks noChangeAspect="1"/>
          </p:cNvSpPr>
          <p:nvPr/>
        </p:nvSpPr>
        <p:spPr>
          <a:xfrm>
            <a:off x="206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60" name="Ellipse 159"/>
          <p:cNvSpPr>
            <a:spLocks noChangeAspect="1"/>
          </p:cNvSpPr>
          <p:nvPr/>
        </p:nvSpPr>
        <p:spPr>
          <a:xfrm>
            <a:off x="2638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161" name="Ellipse 160"/>
          <p:cNvSpPr>
            <a:spLocks noChangeAspect="1"/>
          </p:cNvSpPr>
          <p:nvPr/>
        </p:nvSpPr>
        <p:spPr>
          <a:xfrm>
            <a:off x="3214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162" name="Ellipse 161"/>
          <p:cNvSpPr>
            <a:spLocks noChangeAspect="1"/>
          </p:cNvSpPr>
          <p:nvPr/>
        </p:nvSpPr>
        <p:spPr>
          <a:xfrm>
            <a:off x="3790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7</a:t>
            </a:r>
          </a:p>
        </p:txBody>
      </p:sp>
      <p:sp>
        <p:nvSpPr>
          <p:cNvPr id="163" name="Ellipse 162"/>
          <p:cNvSpPr>
            <a:spLocks noChangeAspect="1"/>
          </p:cNvSpPr>
          <p:nvPr/>
        </p:nvSpPr>
        <p:spPr>
          <a:xfrm>
            <a:off x="4366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164" name="Ellipse 163"/>
          <p:cNvSpPr>
            <a:spLocks noChangeAspect="1"/>
          </p:cNvSpPr>
          <p:nvPr/>
        </p:nvSpPr>
        <p:spPr>
          <a:xfrm>
            <a:off x="4942962" y="2921225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100" b="1" dirty="0" smtClean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168" name="Rechteck 167"/>
          <p:cNvSpPr/>
          <p:nvPr/>
        </p:nvSpPr>
        <p:spPr>
          <a:xfrm>
            <a:off x="329076" y="2438009"/>
            <a:ext cx="1373886" cy="726368"/>
          </a:xfrm>
          <a:prstGeom prst="rect">
            <a:avLst/>
          </a:prstGeom>
          <a:noFill/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169" name="Textfeld 168"/>
          <p:cNvSpPr txBox="1"/>
          <p:nvPr/>
        </p:nvSpPr>
        <p:spPr>
          <a:xfrm>
            <a:off x="642776" y="2244110"/>
            <a:ext cx="746486" cy="1938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400" dirty="0" smtClean="0">
                <a:solidFill>
                  <a:srgbClr val="C00000"/>
                </a:solidFill>
              </a:rPr>
              <a:t>Red alerts</a:t>
            </a:r>
          </a:p>
        </p:txBody>
      </p:sp>
      <p:sp>
        <p:nvSpPr>
          <p:cNvPr id="170" name="Rectangle 99"/>
          <p:cNvSpPr>
            <a:spLocks noChangeArrowheads="1"/>
          </p:cNvSpPr>
          <p:nvPr/>
        </p:nvSpPr>
        <p:spPr bwMode="auto">
          <a:xfrm>
            <a:off x="335335" y="3461762"/>
            <a:ext cx="4336259" cy="40158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/>
              <a:t>Cancellation almost a certainty</a:t>
            </a:r>
          </a:p>
          <a:p>
            <a:pPr marL="0" lvl="1" indent="-180975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buFont typeface="Arial" panose="020B0604020202020204" pitchFamily="34" charset="0"/>
              <a:buChar char="•"/>
              <a:tabLst>
                <a:tab pos="541338" algn="l"/>
                <a:tab pos="714375" algn="r"/>
              </a:tabLst>
            </a:pPr>
            <a:r>
              <a:rPr lang="en-US" sz="1200" dirty="0"/>
              <a:t>Will spread negative opinions to others</a:t>
            </a:r>
          </a:p>
        </p:txBody>
      </p:sp>
      <p:sp>
        <p:nvSpPr>
          <p:cNvPr id="167" name="Rectangle 99"/>
          <p:cNvSpPr>
            <a:spLocks noChangeArrowheads="1"/>
          </p:cNvSpPr>
          <p:nvPr/>
        </p:nvSpPr>
        <p:spPr bwMode="auto">
          <a:xfrm>
            <a:off x="329075" y="1779291"/>
            <a:ext cx="5386171" cy="350284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square" lIns="36000" tIns="18000" rIns="0" bIns="18000" anchor="ctr">
            <a:spAutoFit/>
          </a:bodyPr>
          <a:lstStyle/>
          <a:p>
            <a:pPr marL="0" lvl="1" algn="ctr">
              <a:lnSpc>
                <a:spcPct val="85000"/>
              </a:lnSpc>
              <a:spcBef>
                <a:spcPts val="400"/>
              </a:spcBef>
              <a:buClr>
                <a:schemeClr val="accent5"/>
              </a:buClr>
              <a:tabLst>
                <a:tab pos="541338" algn="l"/>
                <a:tab pos="714375" algn="r"/>
              </a:tabLst>
            </a:pPr>
            <a:r>
              <a:rPr lang="en-US" sz="1200" dirty="0"/>
              <a:t>How likely is it that you would recommend </a:t>
            </a:r>
            <a:r>
              <a:rPr lang="en-US" sz="1200" dirty="0" smtClean="0"/>
              <a:t>[our company] </a:t>
            </a:r>
            <a:r>
              <a:rPr lang="en-US" sz="1200" dirty="0"/>
              <a:t>to a colleague or business partner? Please answer on a scale from "very unlikely" to "very likely</a:t>
            </a:r>
            <a:r>
              <a:rPr lang="en-US" sz="1200" dirty="0" smtClean="0"/>
              <a:t>".</a:t>
            </a:r>
            <a:endParaRPr lang="en-US" sz="1200" i="1" dirty="0"/>
          </a:p>
        </p:txBody>
      </p:sp>
      <p:sp>
        <p:nvSpPr>
          <p:cNvPr id="171" name="Textfeld 170"/>
          <p:cNvSpPr txBox="1"/>
          <p:nvPr/>
        </p:nvSpPr>
        <p:spPr>
          <a:xfrm>
            <a:off x="4671595" y="3195010"/>
            <a:ext cx="1127717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050" dirty="0">
                <a:latin typeface="TKTypeRegular" panose="020B0306040502020204" pitchFamily="34" charset="0"/>
              </a:rPr>
              <a:t>very likely</a:t>
            </a:r>
          </a:p>
        </p:txBody>
      </p:sp>
      <p:sp>
        <p:nvSpPr>
          <p:cNvPr id="172" name="Textfeld 171"/>
          <p:cNvSpPr txBox="1"/>
          <p:nvPr/>
        </p:nvSpPr>
        <p:spPr>
          <a:xfrm>
            <a:off x="335359" y="3211568"/>
            <a:ext cx="1301619" cy="1454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050" dirty="0">
                <a:latin typeface="TKTypeRegular" panose="020B0306040502020204" pitchFamily="34" charset="0"/>
              </a:rPr>
              <a:t>very unlikely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465578" y="5114582"/>
            <a:ext cx="1698462" cy="1122730"/>
          </a:xfrm>
          <a:prstGeom prst="rect">
            <a:avLst/>
          </a:prstGeom>
          <a:ln>
            <a:solidFill>
              <a:schemeClr val="accent5"/>
            </a:solidFill>
          </a:ln>
        </p:spPr>
      </p:pic>
      <p:sp>
        <p:nvSpPr>
          <p:cNvPr id="165" name="Oval 4"/>
          <p:cNvSpPr>
            <a:spLocks noChangeAspect="1" noChangeArrowheads="1"/>
          </p:cNvSpPr>
          <p:nvPr/>
        </p:nvSpPr>
        <p:spPr bwMode="auto">
          <a:xfrm>
            <a:off x="335337" y="4509120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66" name="Oval 4"/>
          <p:cNvSpPr>
            <a:spLocks noChangeAspect="1" noChangeArrowheads="1"/>
          </p:cNvSpPr>
          <p:nvPr/>
        </p:nvSpPr>
        <p:spPr bwMode="auto">
          <a:xfrm>
            <a:off x="335337" y="4869928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76" name="Oval 4"/>
          <p:cNvSpPr>
            <a:spLocks noChangeAspect="1" noChangeArrowheads="1"/>
          </p:cNvSpPr>
          <p:nvPr/>
        </p:nvSpPr>
        <p:spPr bwMode="auto">
          <a:xfrm>
            <a:off x="335337" y="5230736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80" name="Textfeld 179"/>
          <p:cNvSpPr txBox="1"/>
          <p:nvPr/>
        </p:nvSpPr>
        <p:spPr>
          <a:xfrm>
            <a:off x="695376" y="4530453"/>
            <a:ext cx="212410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/>
              <a:t>Preparation of customer interview</a:t>
            </a:r>
          </a:p>
        </p:txBody>
      </p:sp>
      <p:sp>
        <p:nvSpPr>
          <p:cNvPr id="181" name="Textfeld 180"/>
          <p:cNvSpPr txBox="1"/>
          <p:nvPr/>
        </p:nvSpPr>
        <p:spPr>
          <a:xfrm>
            <a:off x="695376" y="4890493"/>
            <a:ext cx="2007729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200" dirty="0"/>
              <a:t>Execution of customer interview</a:t>
            </a:r>
          </a:p>
        </p:txBody>
      </p:sp>
      <p:sp>
        <p:nvSpPr>
          <p:cNvPr id="183" name="Textfeld 182"/>
          <p:cNvSpPr txBox="1"/>
          <p:nvPr/>
        </p:nvSpPr>
        <p:spPr>
          <a:xfrm>
            <a:off x="695376" y="5250533"/>
            <a:ext cx="235789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/>
              <a:t>Documentation of customer interview</a:t>
            </a:r>
          </a:p>
        </p:txBody>
      </p:sp>
      <p:sp>
        <p:nvSpPr>
          <p:cNvPr id="184" name="Textfeld 183"/>
          <p:cNvSpPr txBox="1"/>
          <p:nvPr/>
        </p:nvSpPr>
        <p:spPr>
          <a:xfrm>
            <a:off x="695376" y="5621729"/>
            <a:ext cx="2504410" cy="1661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/>
              <a:t>Return the Excel file to local </a:t>
            </a:r>
            <a:r>
              <a:rPr lang="en-US" sz="1200" dirty="0" smtClean="0"/>
              <a:t>responsible</a:t>
            </a:r>
            <a:endParaRPr lang="en-US" sz="1200" dirty="0"/>
          </a:p>
        </p:txBody>
      </p:sp>
      <p:sp>
        <p:nvSpPr>
          <p:cNvPr id="185" name="Freeform 163"/>
          <p:cNvSpPr>
            <a:spLocks noChangeAspect="1" noEditPoints="1"/>
          </p:cNvSpPr>
          <p:nvPr>
            <p:custDataLst>
              <p:tags r:id="rId7"/>
            </p:custDataLst>
          </p:nvPr>
        </p:nvSpPr>
        <p:spPr bwMode="auto">
          <a:xfrm>
            <a:off x="3454826" y="4875595"/>
            <a:ext cx="216000" cy="216000"/>
          </a:xfrm>
          <a:custGeom>
            <a:avLst/>
            <a:gdLst>
              <a:gd name="T0" fmla="*/ 1134 w 3361"/>
              <a:gd name="T1" fmla="*/ 3130 h 3361"/>
              <a:gd name="T2" fmla="*/ 1870 w 3361"/>
              <a:gd name="T3" fmla="*/ 3218 h 3361"/>
              <a:gd name="T4" fmla="*/ 2546 w 3361"/>
              <a:gd name="T5" fmla="*/ 2964 h 3361"/>
              <a:gd name="T6" fmla="*/ 762 w 3361"/>
              <a:gd name="T7" fmla="*/ 2015 h 3361"/>
              <a:gd name="T8" fmla="*/ 483 w 3361"/>
              <a:gd name="T9" fmla="*/ 2662 h 3361"/>
              <a:gd name="T10" fmla="*/ 1864 w 3361"/>
              <a:gd name="T11" fmla="*/ 2471 h 3361"/>
              <a:gd name="T12" fmla="*/ 1549 w 3361"/>
              <a:gd name="T13" fmla="*/ 1906 h 3361"/>
              <a:gd name="T14" fmla="*/ 1201 w 3361"/>
              <a:gd name="T15" fmla="*/ 2664 h 3361"/>
              <a:gd name="T16" fmla="*/ 1107 w 3361"/>
              <a:gd name="T17" fmla="*/ 693 h 3361"/>
              <a:gd name="T18" fmla="*/ 863 w 3361"/>
              <a:gd name="T19" fmla="*/ 938 h 3361"/>
              <a:gd name="T20" fmla="*/ 952 w 3361"/>
              <a:gd name="T21" fmla="*/ 1279 h 3361"/>
              <a:gd name="T22" fmla="*/ 1295 w 3361"/>
              <a:gd name="T23" fmla="*/ 1370 h 3361"/>
              <a:gd name="T24" fmla="*/ 1539 w 3361"/>
              <a:gd name="T25" fmla="*/ 1124 h 3361"/>
              <a:gd name="T26" fmla="*/ 1449 w 3361"/>
              <a:gd name="T27" fmla="*/ 783 h 3361"/>
              <a:gd name="T28" fmla="*/ 1257 w 3361"/>
              <a:gd name="T29" fmla="*/ 553 h 3361"/>
              <a:gd name="T30" fmla="*/ 1607 w 3361"/>
              <a:gd name="T31" fmla="*/ 773 h 3361"/>
              <a:gd name="T32" fmla="*/ 1655 w 3361"/>
              <a:gd name="T33" fmla="*/ 1194 h 3361"/>
              <a:gd name="T34" fmla="*/ 1363 w 3361"/>
              <a:gd name="T35" fmla="*/ 1485 h 3361"/>
              <a:gd name="T36" fmla="*/ 943 w 3361"/>
              <a:gd name="T37" fmla="*/ 1438 h 3361"/>
              <a:gd name="T38" fmla="*/ 722 w 3361"/>
              <a:gd name="T39" fmla="*/ 1088 h 3361"/>
              <a:gd name="T40" fmla="*/ 861 w 3361"/>
              <a:gd name="T41" fmla="*/ 691 h 3361"/>
              <a:gd name="T42" fmla="*/ 2483 w 3361"/>
              <a:gd name="T43" fmla="*/ 357 h 3361"/>
              <a:gd name="T44" fmla="*/ 2450 w 3361"/>
              <a:gd name="T45" fmla="*/ 1107 h 3361"/>
              <a:gd name="T46" fmla="*/ 2507 w 3361"/>
              <a:gd name="T47" fmla="*/ 1455 h 3361"/>
              <a:gd name="T48" fmla="*/ 3157 w 3361"/>
              <a:gd name="T49" fmla="*/ 1215 h 3361"/>
              <a:gd name="T50" fmla="*/ 2773 w 3361"/>
              <a:gd name="T51" fmla="*/ 586 h 3361"/>
              <a:gd name="T52" fmla="*/ 1392 w 3361"/>
              <a:gd name="T53" fmla="*/ 158 h 3361"/>
              <a:gd name="T54" fmla="*/ 722 w 3361"/>
              <a:gd name="T55" fmla="*/ 463 h 3361"/>
              <a:gd name="T56" fmla="*/ 272 w 3361"/>
              <a:gd name="T57" fmla="*/ 1036 h 3361"/>
              <a:gd name="T58" fmla="*/ 133 w 3361"/>
              <a:gd name="T59" fmla="*/ 1773 h 3361"/>
              <a:gd name="T60" fmla="*/ 338 w 3361"/>
              <a:gd name="T61" fmla="*/ 2451 h 3361"/>
              <a:gd name="T62" fmla="*/ 652 w 3361"/>
              <a:gd name="T63" fmla="*/ 1942 h 3361"/>
              <a:gd name="T64" fmla="*/ 1081 w 3361"/>
              <a:gd name="T65" fmla="*/ 1619 h 3361"/>
              <a:gd name="T66" fmla="*/ 1538 w 3361"/>
              <a:gd name="T67" fmla="*/ 1721 h 3361"/>
              <a:gd name="T68" fmla="*/ 1899 w 3361"/>
              <a:gd name="T69" fmla="*/ 2202 h 3361"/>
              <a:gd name="T70" fmla="*/ 2988 w 3361"/>
              <a:gd name="T71" fmla="*/ 2511 h 3361"/>
              <a:gd name="T72" fmla="*/ 3227 w 3361"/>
              <a:gd name="T73" fmla="*/ 1781 h 3361"/>
              <a:gd name="T74" fmla="*/ 2449 w 3361"/>
              <a:gd name="T75" fmla="*/ 1581 h 3361"/>
              <a:gd name="T76" fmla="*/ 1907 w 3361"/>
              <a:gd name="T77" fmla="*/ 1229 h 3361"/>
              <a:gd name="T78" fmla="*/ 1846 w 3361"/>
              <a:gd name="T79" fmla="*/ 1140 h 3361"/>
              <a:gd name="T80" fmla="*/ 2030 w 3361"/>
              <a:gd name="T81" fmla="*/ 171 h 3361"/>
              <a:gd name="T82" fmla="*/ 1981 w 3361"/>
              <a:gd name="T83" fmla="*/ 27 h 3361"/>
              <a:gd name="T84" fmla="*/ 2532 w 3361"/>
              <a:gd name="T85" fmla="*/ 232 h 3361"/>
              <a:gd name="T86" fmla="*/ 3076 w 3361"/>
              <a:gd name="T87" fmla="*/ 747 h 3361"/>
              <a:gd name="T88" fmla="*/ 3346 w 3361"/>
              <a:gd name="T89" fmla="*/ 1458 h 3361"/>
              <a:gd name="T90" fmla="*/ 3358 w 3361"/>
              <a:gd name="T91" fmla="*/ 1783 h 3361"/>
              <a:gd name="T92" fmla="*/ 3128 w 3361"/>
              <a:gd name="T93" fmla="*/ 2533 h 3361"/>
              <a:gd name="T94" fmla="*/ 2750 w 3361"/>
              <a:gd name="T95" fmla="*/ 2975 h 3361"/>
              <a:gd name="T96" fmla="*/ 2074 w 3361"/>
              <a:gd name="T97" fmla="*/ 3314 h 3361"/>
              <a:gd name="T98" fmla="*/ 1287 w 3361"/>
              <a:gd name="T99" fmla="*/ 3314 h 3361"/>
              <a:gd name="T100" fmla="*/ 611 w 3361"/>
              <a:gd name="T101" fmla="*/ 2975 h 3361"/>
              <a:gd name="T102" fmla="*/ 356 w 3361"/>
              <a:gd name="T103" fmla="*/ 2714 h 3361"/>
              <a:gd name="T104" fmla="*/ 51 w 3361"/>
              <a:gd name="T105" fmla="*/ 2090 h 3361"/>
              <a:gd name="T106" fmla="*/ 48 w 3361"/>
              <a:gd name="T107" fmla="*/ 1282 h 3361"/>
              <a:gd name="T108" fmla="*/ 396 w 3361"/>
              <a:gd name="T109" fmla="*/ 599 h 3361"/>
              <a:gd name="T110" fmla="*/ 1005 w 3361"/>
              <a:gd name="T111" fmla="*/ 142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361" h="3361">
                <a:moveTo>
                  <a:pt x="606" y="2795"/>
                </a:moveTo>
                <a:lnTo>
                  <a:pt x="672" y="2855"/>
                </a:lnTo>
                <a:lnTo>
                  <a:pt x="741" y="2912"/>
                </a:lnTo>
                <a:lnTo>
                  <a:pt x="815" y="2964"/>
                </a:lnTo>
                <a:lnTo>
                  <a:pt x="890" y="3012"/>
                </a:lnTo>
                <a:lnTo>
                  <a:pt x="969" y="3055"/>
                </a:lnTo>
                <a:lnTo>
                  <a:pt x="1050" y="3095"/>
                </a:lnTo>
                <a:lnTo>
                  <a:pt x="1134" y="3130"/>
                </a:lnTo>
                <a:lnTo>
                  <a:pt x="1220" y="3160"/>
                </a:lnTo>
                <a:lnTo>
                  <a:pt x="1308" y="3185"/>
                </a:lnTo>
                <a:lnTo>
                  <a:pt x="1398" y="3204"/>
                </a:lnTo>
                <a:lnTo>
                  <a:pt x="1491" y="3218"/>
                </a:lnTo>
                <a:lnTo>
                  <a:pt x="1585" y="3228"/>
                </a:lnTo>
                <a:lnTo>
                  <a:pt x="1679" y="3231"/>
                </a:lnTo>
                <a:lnTo>
                  <a:pt x="1776" y="3228"/>
                </a:lnTo>
                <a:lnTo>
                  <a:pt x="1870" y="3218"/>
                </a:lnTo>
                <a:lnTo>
                  <a:pt x="1963" y="3204"/>
                </a:lnTo>
                <a:lnTo>
                  <a:pt x="2053" y="3185"/>
                </a:lnTo>
                <a:lnTo>
                  <a:pt x="2141" y="3160"/>
                </a:lnTo>
                <a:lnTo>
                  <a:pt x="2227" y="3130"/>
                </a:lnTo>
                <a:lnTo>
                  <a:pt x="2311" y="3095"/>
                </a:lnTo>
                <a:lnTo>
                  <a:pt x="2392" y="3055"/>
                </a:lnTo>
                <a:lnTo>
                  <a:pt x="2471" y="3012"/>
                </a:lnTo>
                <a:lnTo>
                  <a:pt x="2546" y="2964"/>
                </a:lnTo>
                <a:lnTo>
                  <a:pt x="2620" y="2912"/>
                </a:lnTo>
                <a:lnTo>
                  <a:pt x="2689" y="2855"/>
                </a:lnTo>
                <a:lnTo>
                  <a:pt x="2755" y="2795"/>
                </a:lnTo>
                <a:lnTo>
                  <a:pt x="606" y="2795"/>
                </a:lnTo>
                <a:close/>
                <a:moveTo>
                  <a:pt x="900" y="1862"/>
                </a:moveTo>
                <a:lnTo>
                  <a:pt x="852" y="1907"/>
                </a:lnTo>
                <a:lnTo>
                  <a:pt x="807" y="1958"/>
                </a:lnTo>
                <a:lnTo>
                  <a:pt x="762" y="2015"/>
                </a:lnTo>
                <a:lnTo>
                  <a:pt x="719" y="2077"/>
                </a:lnTo>
                <a:lnTo>
                  <a:pt x="678" y="2145"/>
                </a:lnTo>
                <a:lnTo>
                  <a:pt x="640" y="2219"/>
                </a:lnTo>
                <a:lnTo>
                  <a:pt x="604" y="2298"/>
                </a:lnTo>
                <a:lnTo>
                  <a:pt x="569" y="2382"/>
                </a:lnTo>
                <a:lnTo>
                  <a:pt x="538" y="2471"/>
                </a:lnTo>
                <a:lnTo>
                  <a:pt x="509" y="2565"/>
                </a:lnTo>
                <a:lnTo>
                  <a:pt x="483" y="2662"/>
                </a:lnTo>
                <a:lnTo>
                  <a:pt x="484" y="2664"/>
                </a:lnTo>
                <a:lnTo>
                  <a:pt x="1067" y="2664"/>
                </a:lnTo>
                <a:lnTo>
                  <a:pt x="900" y="1862"/>
                </a:lnTo>
                <a:close/>
                <a:moveTo>
                  <a:pt x="1501" y="1861"/>
                </a:moveTo>
                <a:lnTo>
                  <a:pt x="1334" y="2664"/>
                </a:lnTo>
                <a:lnTo>
                  <a:pt x="1920" y="2664"/>
                </a:lnTo>
                <a:lnTo>
                  <a:pt x="1893" y="2566"/>
                </a:lnTo>
                <a:lnTo>
                  <a:pt x="1864" y="2471"/>
                </a:lnTo>
                <a:lnTo>
                  <a:pt x="1832" y="2382"/>
                </a:lnTo>
                <a:lnTo>
                  <a:pt x="1799" y="2298"/>
                </a:lnTo>
                <a:lnTo>
                  <a:pt x="1762" y="2218"/>
                </a:lnTo>
                <a:lnTo>
                  <a:pt x="1723" y="2144"/>
                </a:lnTo>
                <a:lnTo>
                  <a:pt x="1683" y="2076"/>
                </a:lnTo>
                <a:lnTo>
                  <a:pt x="1640" y="2013"/>
                </a:lnTo>
                <a:lnTo>
                  <a:pt x="1595" y="1957"/>
                </a:lnTo>
                <a:lnTo>
                  <a:pt x="1549" y="1906"/>
                </a:lnTo>
                <a:lnTo>
                  <a:pt x="1501" y="1861"/>
                </a:lnTo>
                <a:close/>
                <a:moveTo>
                  <a:pt x="1201" y="1735"/>
                </a:moveTo>
                <a:lnTo>
                  <a:pt x="1154" y="1739"/>
                </a:lnTo>
                <a:lnTo>
                  <a:pt x="1108" y="1748"/>
                </a:lnTo>
                <a:lnTo>
                  <a:pt x="1062" y="1762"/>
                </a:lnTo>
                <a:lnTo>
                  <a:pt x="1017" y="1782"/>
                </a:lnTo>
                <a:lnTo>
                  <a:pt x="1201" y="2664"/>
                </a:lnTo>
                <a:lnTo>
                  <a:pt x="1201" y="2664"/>
                </a:lnTo>
                <a:lnTo>
                  <a:pt x="1384" y="1781"/>
                </a:lnTo>
                <a:lnTo>
                  <a:pt x="1339" y="1762"/>
                </a:lnTo>
                <a:lnTo>
                  <a:pt x="1293" y="1748"/>
                </a:lnTo>
                <a:lnTo>
                  <a:pt x="1248" y="1739"/>
                </a:lnTo>
                <a:lnTo>
                  <a:pt x="1201" y="1735"/>
                </a:lnTo>
                <a:close/>
                <a:moveTo>
                  <a:pt x="1201" y="680"/>
                </a:moveTo>
                <a:lnTo>
                  <a:pt x="1153" y="683"/>
                </a:lnTo>
                <a:lnTo>
                  <a:pt x="1107" y="693"/>
                </a:lnTo>
                <a:lnTo>
                  <a:pt x="1064" y="708"/>
                </a:lnTo>
                <a:lnTo>
                  <a:pt x="1024" y="728"/>
                </a:lnTo>
                <a:lnTo>
                  <a:pt x="986" y="754"/>
                </a:lnTo>
                <a:lnTo>
                  <a:pt x="952" y="783"/>
                </a:lnTo>
                <a:lnTo>
                  <a:pt x="923" y="817"/>
                </a:lnTo>
                <a:lnTo>
                  <a:pt x="897" y="854"/>
                </a:lnTo>
                <a:lnTo>
                  <a:pt x="877" y="894"/>
                </a:lnTo>
                <a:lnTo>
                  <a:pt x="863" y="938"/>
                </a:lnTo>
                <a:lnTo>
                  <a:pt x="852" y="984"/>
                </a:lnTo>
                <a:lnTo>
                  <a:pt x="849" y="1031"/>
                </a:lnTo>
                <a:lnTo>
                  <a:pt x="852" y="1079"/>
                </a:lnTo>
                <a:lnTo>
                  <a:pt x="863" y="1124"/>
                </a:lnTo>
                <a:lnTo>
                  <a:pt x="877" y="1168"/>
                </a:lnTo>
                <a:lnTo>
                  <a:pt x="897" y="1208"/>
                </a:lnTo>
                <a:lnTo>
                  <a:pt x="923" y="1246"/>
                </a:lnTo>
                <a:lnTo>
                  <a:pt x="952" y="1279"/>
                </a:lnTo>
                <a:lnTo>
                  <a:pt x="986" y="1309"/>
                </a:lnTo>
                <a:lnTo>
                  <a:pt x="1024" y="1334"/>
                </a:lnTo>
                <a:lnTo>
                  <a:pt x="1064" y="1355"/>
                </a:lnTo>
                <a:lnTo>
                  <a:pt x="1107" y="1370"/>
                </a:lnTo>
                <a:lnTo>
                  <a:pt x="1153" y="1379"/>
                </a:lnTo>
                <a:lnTo>
                  <a:pt x="1201" y="1382"/>
                </a:lnTo>
                <a:lnTo>
                  <a:pt x="1249" y="1379"/>
                </a:lnTo>
                <a:lnTo>
                  <a:pt x="1295" y="1370"/>
                </a:lnTo>
                <a:lnTo>
                  <a:pt x="1337" y="1355"/>
                </a:lnTo>
                <a:lnTo>
                  <a:pt x="1378" y="1334"/>
                </a:lnTo>
                <a:lnTo>
                  <a:pt x="1415" y="1309"/>
                </a:lnTo>
                <a:lnTo>
                  <a:pt x="1449" y="1279"/>
                </a:lnTo>
                <a:lnTo>
                  <a:pt x="1479" y="1246"/>
                </a:lnTo>
                <a:lnTo>
                  <a:pt x="1504" y="1208"/>
                </a:lnTo>
                <a:lnTo>
                  <a:pt x="1525" y="1168"/>
                </a:lnTo>
                <a:lnTo>
                  <a:pt x="1539" y="1124"/>
                </a:lnTo>
                <a:lnTo>
                  <a:pt x="1549" y="1079"/>
                </a:lnTo>
                <a:lnTo>
                  <a:pt x="1552" y="1031"/>
                </a:lnTo>
                <a:lnTo>
                  <a:pt x="1549" y="984"/>
                </a:lnTo>
                <a:lnTo>
                  <a:pt x="1539" y="938"/>
                </a:lnTo>
                <a:lnTo>
                  <a:pt x="1525" y="894"/>
                </a:lnTo>
                <a:lnTo>
                  <a:pt x="1504" y="854"/>
                </a:lnTo>
                <a:lnTo>
                  <a:pt x="1479" y="817"/>
                </a:lnTo>
                <a:lnTo>
                  <a:pt x="1449" y="783"/>
                </a:lnTo>
                <a:lnTo>
                  <a:pt x="1415" y="754"/>
                </a:lnTo>
                <a:lnTo>
                  <a:pt x="1378" y="728"/>
                </a:lnTo>
                <a:lnTo>
                  <a:pt x="1337" y="708"/>
                </a:lnTo>
                <a:lnTo>
                  <a:pt x="1295" y="693"/>
                </a:lnTo>
                <a:lnTo>
                  <a:pt x="1249" y="683"/>
                </a:lnTo>
                <a:lnTo>
                  <a:pt x="1201" y="680"/>
                </a:lnTo>
                <a:close/>
                <a:moveTo>
                  <a:pt x="1201" y="549"/>
                </a:moveTo>
                <a:lnTo>
                  <a:pt x="1257" y="553"/>
                </a:lnTo>
                <a:lnTo>
                  <a:pt x="1311" y="562"/>
                </a:lnTo>
                <a:lnTo>
                  <a:pt x="1363" y="577"/>
                </a:lnTo>
                <a:lnTo>
                  <a:pt x="1413" y="599"/>
                </a:lnTo>
                <a:lnTo>
                  <a:pt x="1458" y="624"/>
                </a:lnTo>
                <a:lnTo>
                  <a:pt x="1502" y="655"/>
                </a:lnTo>
                <a:lnTo>
                  <a:pt x="1541" y="691"/>
                </a:lnTo>
                <a:lnTo>
                  <a:pt x="1577" y="730"/>
                </a:lnTo>
                <a:lnTo>
                  <a:pt x="1607" y="773"/>
                </a:lnTo>
                <a:lnTo>
                  <a:pt x="1634" y="820"/>
                </a:lnTo>
                <a:lnTo>
                  <a:pt x="1655" y="869"/>
                </a:lnTo>
                <a:lnTo>
                  <a:pt x="1670" y="921"/>
                </a:lnTo>
                <a:lnTo>
                  <a:pt x="1679" y="975"/>
                </a:lnTo>
                <a:lnTo>
                  <a:pt x="1683" y="1031"/>
                </a:lnTo>
                <a:lnTo>
                  <a:pt x="1679" y="1088"/>
                </a:lnTo>
                <a:lnTo>
                  <a:pt x="1670" y="1142"/>
                </a:lnTo>
                <a:lnTo>
                  <a:pt x="1655" y="1194"/>
                </a:lnTo>
                <a:lnTo>
                  <a:pt x="1634" y="1243"/>
                </a:lnTo>
                <a:lnTo>
                  <a:pt x="1607" y="1289"/>
                </a:lnTo>
                <a:lnTo>
                  <a:pt x="1577" y="1332"/>
                </a:lnTo>
                <a:lnTo>
                  <a:pt x="1541" y="1372"/>
                </a:lnTo>
                <a:lnTo>
                  <a:pt x="1502" y="1408"/>
                </a:lnTo>
                <a:lnTo>
                  <a:pt x="1458" y="1438"/>
                </a:lnTo>
                <a:lnTo>
                  <a:pt x="1413" y="1465"/>
                </a:lnTo>
                <a:lnTo>
                  <a:pt x="1363" y="1485"/>
                </a:lnTo>
                <a:lnTo>
                  <a:pt x="1311" y="1500"/>
                </a:lnTo>
                <a:lnTo>
                  <a:pt x="1257" y="1510"/>
                </a:lnTo>
                <a:lnTo>
                  <a:pt x="1201" y="1513"/>
                </a:lnTo>
                <a:lnTo>
                  <a:pt x="1145" y="1510"/>
                </a:lnTo>
                <a:lnTo>
                  <a:pt x="1091" y="1500"/>
                </a:lnTo>
                <a:lnTo>
                  <a:pt x="1039" y="1485"/>
                </a:lnTo>
                <a:lnTo>
                  <a:pt x="989" y="1465"/>
                </a:lnTo>
                <a:lnTo>
                  <a:pt x="943" y="1438"/>
                </a:lnTo>
                <a:lnTo>
                  <a:pt x="899" y="1408"/>
                </a:lnTo>
                <a:lnTo>
                  <a:pt x="861" y="1372"/>
                </a:lnTo>
                <a:lnTo>
                  <a:pt x="825" y="1332"/>
                </a:lnTo>
                <a:lnTo>
                  <a:pt x="794" y="1289"/>
                </a:lnTo>
                <a:lnTo>
                  <a:pt x="768" y="1243"/>
                </a:lnTo>
                <a:lnTo>
                  <a:pt x="747" y="1194"/>
                </a:lnTo>
                <a:lnTo>
                  <a:pt x="731" y="1142"/>
                </a:lnTo>
                <a:lnTo>
                  <a:pt x="722" y="1088"/>
                </a:lnTo>
                <a:lnTo>
                  <a:pt x="719" y="1031"/>
                </a:lnTo>
                <a:lnTo>
                  <a:pt x="722" y="975"/>
                </a:lnTo>
                <a:lnTo>
                  <a:pt x="731" y="921"/>
                </a:lnTo>
                <a:lnTo>
                  <a:pt x="747" y="869"/>
                </a:lnTo>
                <a:lnTo>
                  <a:pt x="768" y="820"/>
                </a:lnTo>
                <a:lnTo>
                  <a:pt x="794" y="773"/>
                </a:lnTo>
                <a:lnTo>
                  <a:pt x="825" y="730"/>
                </a:lnTo>
                <a:lnTo>
                  <a:pt x="861" y="691"/>
                </a:lnTo>
                <a:lnTo>
                  <a:pt x="899" y="655"/>
                </a:lnTo>
                <a:lnTo>
                  <a:pt x="943" y="624"/>
                </a:lnTo>
                <a:lnTo>
                  <a:pt x="989" y="599"/>
                </a:lnTo>
                <a:lnTo>
                  <a:pt x="1039" y="577"/>
                </a:lnTo>
                <a:lnTo>
                  <a:pt x="1091" y="562"/>
                </a:lnTo>
                <a:lnTo>
                  <a:pt x="1145" y="553"/>
                </a:lnTo>
                <a:lnTo>
                  <a:pt x="1201" y="549"/>
                </a:lnTo>
                <a:close/>
                <a:moveTo>
                  <a:pt x="2483" y="357"/>
                </a:moveTo>
                <a:lnTo>
                  <a:pt x="2483" y="729"/>
                </a:lnTo>
                <a:lnTo>
                  <a:pt x="2480" y="748"/>
                </a:lnTo>
                <a:lnTo>
                  <a:pt x="2473" y="765"/>
                </a:lnTo>
                <a:lnTo>
                  <a:pt x="2460" y="779"/>
                </a:lnTo>
                <a:lnTo>
                  <a:pt x="2084" y="1098"/>
                </a:lnTo>
                <a:lnTo>
                  <a:pt x="2418" y="1098"/>
                </a:lnTo>
                <a:lnTo>
                  <a:pt x="2435" y="1100"/>
                </a:lnTo>
                <a:lnTo>
                  <a:pt x="2450" y="1107"/>
                </a:lnTo>
                <a:lnTo>
                  <a:pt x="2464" y="1117"/>
                </a:lnTo>
                <a:lnTo>
                  <a:pt x="2474" y="1131"/>
                </a:lnTo>
                <a:lnTo>
                  <a:pt x="2481" y="1146"/>
                </a:lnTo>
                <a:lnTo>
                  <a:pt x="2483" y="1163"/>
                </a:lnTo>
                <a:lnTo>
                  <a:pt x="2483" y="1389"/>
                </a:lnTo>
                <a:lnTo>
                  <a:pt x="2486" y="1414"/>
                </a:lnTo>
                <a:lnTo>
                  <a:pt x="2494" y="1436"/>
                </a:lnTo>
                <a:lnTo>
                  <a:pt x="2507" y="1455"/>
                </a:lnTo>
                <a:lnTo>
                  <a:pt x="2523" y="1472"/>
                </a:lnTo>
                <a:lnTo>
                  <a:pt x="2542" y="1484"/>
                </a:lnTo>
                <a:lnTo>
                  <a:pt x="2565" y="1492"/>
                </a:lnTo>
                <a:lnTo>
                  <a:pt x="2589" y="1495"/>
                </a:lnTo>
                <a:lnTo>
                  <a:pt x="3218" y="1495"/>
                </a:lnTo>
                <a:lnTo>
                  <a:pt x="3203" y="1399"/>
                </a:lnTo>
                <a:lnTo>
                  <a:pt x="3183" y="1306"/>
                </a:lnTo>
                <a:lnTo>
                  <a:pt x="3157" y="1215"/>
                </a:lnTo>
                <a:lnTo>
                  <a:pt x="3127" y="1125"/>
                </a:lnTo>
                <a:lnTo>
                  <a:pt x="3090" y="1040"/>
                </a:lnTo>
                <a:lnTo>
                  <a:pt x="3048" y="956"/>
                </a:lnTo>
                <a:lnTo>
                  <a:pt x="3003" y="875"/>
                </a:lnTo>
                <a:lnTo>
                  <a:pt x="2952" y="797"/>
                </a:lnTo>
                <a:lnTo>
                  <a:pt x="2897" y="723"/>
                </a:lnTo>
                <a:lnTo>
                  <a:pt x="2838" y="653"/>
                </a:lnTo>
                <a:lnTo>
                  <a:pt x="2773" y="586"/>
                </a:lnTo>
                <a:lnTo>
                  <a:pt x="2706" y="522"/>
                </a:lnTo>
                <a:lnTo>
                  <a:pt x="2635" y="463"/>
                </a:lnTo>
                <a:lnTo>
                  <a:pt x="2560" y="408"/>
                </a:lnTo>
                <a:lnTo>
                  <a:pt x="2483" y="35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3"/>
                </a:lnTo>
                <a:lnTo>
                  <a:pt x="142" y="1865"/>
                </a:lnTo>
                <a:lnTo>
                  <a:pt x="155" y="1954"/>
                </a:lnTo>
                <a:lnTo>
                  <a:pt x="174" y="2043"/>
                </a:lnTo>
                <a:lnTo>
                  <a:pt x="198" y="2129"/>
                </a:lnTo>
                <a:lnTo>
                  <a:pt x="226" y="2213"/>
                </a:lnTo>
                <a:lnTo>
                  <a:pt x="259" y="2295"/>
                </a:lnTo>
                <a:lnTo>
                  <a:pt x="296" y="2374"/>
                </a:lnTo>
                <a:lnTo>
                  <a:pt x="338" y="2451"/>
                </a:lnTo>
                <a:lnTo>
                  <a:pt x="384" y="2526"/>
                </a:lnTo>
                <a:lnTo>
                  <a:pt x="414" y="2427"/>
                </a:lnTo>
                <a:lnTo>
                  <a:pt x="447" y="2333"/>
                </a:lnTo>
                <a:lnTo>
                  <a:pt x="484" y="2245"/>
                </a:lnTo>
                <a:lnTo>
                  <a:pt x="521" y="2161"/>
                </a:lnTo>
                <a:lnTo>
                  <a:pt x="563" y="2083"/>
                </a:lnTo>
                <a:lnTo>
                  <a:pt x="606" y="2009"/>
                </a:lnTo>
                <a:lnTo>
                  <a:pt x="652" y="1942"/>
                </a:lnTo>
                <a:lnTo>
                  <a:pt x="700" y="1880"/>
                </a:lnTo>
                <a:lnTo>
                  <a:pt x="749" y="1824"/>
                </a:lnTo>
                <a:lnTo>
                  <a:pt x="801" y="1774"/>
                </a:lnTo>
                <a:lnTo>
                  <a:pt x="853" y="1730"/>
                </a:lnTo>
                <a:lnTo>
                  <a:pt x="908" y="1693"/>
                </a:lnTo>
                <a:lnTo>
                  <a:pt x="965" y="1661"/>
                </a:lnTo>
                <a:lnTo>
                  <a:pt x="1022" y="1637"/>
                </a:lnTo>
                <a:lnTo>
                  <a:pt x="1081" y="1619"/>
                </a:lnTo>
                <a:lnTo>
                  <a:pt x="1140" y="1608"/>
                </a:lnTo>
                <a:lnTo>
                  <a:pt x="1201" y="1605"/>
                </a:lnTo>
                <a:lnTo>
                  <a:pt x="1260" y="1608"/>
                </a:lnTo>
                <a:lnTo>
                  <a:pt x="1318" y="1618"/>
                </a:lnTo>
                <a:lnTo>
                  <a:pt x="1375" y="1635"/>
                </a:lnTo>
                <a:lnTo>
                  <a:pt x="1430" y="1657"/>
                </a:lnTo>
                <a:lnTo>
                  <a:pt x="1485" y="1687"/>
                </a:lnTo>
                <a:lnTo>
                  <a:pt x="1538" y="1721"/>
                </a:lnTo>
                <a:lnTo>
                  <a:pt x="1589" y="1762"/>
                </a:lnTo>
                <a:lnTo>
                  <a:pt x="1639" y="1809"/>
                </a:lnTo>
                <a:lnTo>
                  <a:pt x="1688" y="1861"/>
                </a:lnTo>
                <a:lnTo>
                  <a:pt x="1733" y="1919"/>
                </a:lnTo>
                <a:lnTo>
                  <a:pt x="1778" y="1982"/>
                </a:lnTo>
                <a:lnTo>
                  <a:pt x="1821" y="2050"/>
                </a:lnTo>
                <a:lnTo>
                  <a:pt x="1862" y="2124"/>
                </a:lnTo>
                <a:lnTo>
                  <a:pt x="1899" y="2202"/>
                </a:lnTo>
                <a:lnTo>
                  <a:pt x="1935" y="2285"/>
                </a:lnTo>
                <a:lnTo>
                  <a:pt x="1969" y="2373"/>
                </a:lnTo>
                <a:lnTo>
                  <a:pt x="1999" y="2466"/>
                </a:lnTo>
                <a:lnTo>
                  <a:pt x="2028" y="2563"/>
                </a:lnTo>
                <a:lnTo>
                  <a:pt x="2053" y="2664"/>
                </a:lnTo>
                <a:lnTo>
                  <a:pt x="2877" y="2664"/>
                </a:lnTo>
                <a:lnTo>
                  <a:pt x="2935" y="2589"/>
                </a:lnTo>
                <a:lnTo>
                  <a:pt x="2988" y="2511"/>
                </a:lnTo>
                <a:lnTo>
                  <a:pt x="3037" y="2429"/>
                </a:lnTo>
                <a:lnTo>
                  <a:pt x="3081" y="2345"/>
                </a:lnTo>
                <a:lnTo>
                  <a:pt x="3119" y="2257"/>
                </a:lnTo>
                <a:lnTo>
                  <a:pt x="3152" y="2166"/>
                </a:lnTo>
                <a:lnTo>
                  <a:pt x="3180" y="2074"/>
                </a:lnTo>
                <a:lnTo>
                  <a:pt x="3201" y="1978"/>
                </a:lnTo>
                <a:lnTo>
                  <a:pt x="3217" y="1881"/>
                </a:lnTo>
                <a:lnTo>
                  <a:pt x="3227" y="1781"/>
                </a:lnTo>
                <a:lnTo>
                  <a:pt x="3231" y="1680"/>
                </a:lnTo>
                <a:lnTo>
                  <a:pt x="3229" y="1653"/>
                </a:lnTo>
                <a:lnTo>
                  <a:pt x="3228" y="1625"/>
                </a:lnTo>
                <a:lnTo>
                  <a:pt x="2589" y="1625"/>
                </a:lnTo>
                <a:lnTo>
                  <a:pt x="2550" y="1622"/>
                </a:lnTo>
                <a:lnTo>
                  <a:pt x="2515" y="1614"/>
                </a:lnTo>
                <a:lnTo>
                  <a:pt x="2480" y="1599"/>
                </a:lnTo>
                <a:lnTo>
                  <a:pt x="2449" y="1581"/>
                </a:lnTo>
                <a:lnTo>
                  <a:pt x="2422" y="1556"/>
                </a:lnTo>
                <a:lnTo>
                  <a:pt x="2398" y="1529"/>
                </a:lnTo>
                <a:lnTo>
                  <a:pt x="2378" y="1498"/>
                </a:lnTo>
                <a:lnTo>
                  <a:pt x="2364" y="1464"/>
                </a:lnTo>
                <a:lnTo>
                  <a:pt x="2356" y="1428"/>
                </a:lnTo>
                <a:lnTo>
                  <a:pt x="2352" y="1389"/>
                </a:lnTo>
                <a:lnTo>
                  <a:pt x="2352" y="1229"/>
                </a:lnTo>
                <a:lnTo>
                  <a:pt x="1907" y="1229"/>
                </a:lnTo>
                <a:lnTo>
                  <a:pt x="1890" y="1227"/>
                </a:lnTo>
                <a:lnTo>
                  <a:pt x="1876" y="1221"/>
                </a:lnTo>
                <a:lnTo>
                  <a:pt x="1863" y="1212"/>
                </a:lnTo>
                <a:lnTo>
                  <a:pt x="1853" y="1201"/>
                </a:lnTo>
                <a:lnTo>
                  <a:pt x="1844" y="1187"/>
                </a:lnTo>
                <a:lnTo>
                  <a:pt x="1841" y="1170"/>
                </a:lnTo>
                <a:lnTo>
                  <a:pt x="1841" y="1155"/>
                </a:lnTo>
                <a:lnTo>
                  <a:pt x="1846" y="1140"/>
                </a:lnTo>
                <a:lnTo>
                  <a:pt x="1853" y="1125"/>
                </a:lnTo>
                <a:lnTo>
                  <a:pt x="1864" y="1113"/>
                </a:lnTo>
                <a:lnTo>
                  <a:pt x="2352" y="699"/>
                </a:lnTo>
                <a:lnTo>
                  <a:pt x="2352" y="286"/>
                </a:lnTo>
                <a:lnTo>
                  <a:pt x="2274" y="252"/>
                </a:lnTo>
                <a:lnTo>
                  <a:pt x="2195" y="220"/>
                </a:lnTo>
                <a:lnTo>
                  <a:pt x="2113" y="193"/>
                </a:lnTo>
                <a:lnTo>
                  <a:pt x="2030" y="171"/>
                </a:lnTo>
                <a:lnTo>
                  <a:pt x="1945" y="154"/>
                </a:lnTo>
                <a:lnTo>
                  <a:pt x="1859" y="142"/>
                </a:lnTo>
                <a:lnTo>
                  <a:pt x="1770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1" y="27"/>
                </a:lnTo>
                <a:lnTo>
                  <a:pt x="2077" y="48"/>
                </a:lnTo>
                <a:lnTo>
                  <a:pt x="2171" y="73"/>
                </a:lnTo>
                <a:lnTo>
                  <a:pt x="2263" y="105"/>
                </a:lnTo>
                <a:lnTo>
                  <a:pt x="2353" y="141"/>
                </a:lnTo>
                <a:lnTo>
                  <a:pt x="2440" y="182"/>
                </a:lnTo>
                <a:lnTo>
                  <a:pt x="2444" y="184"/>
                </a:lnTo>
                <a:lnTo>
                  <a:pt x="2448" y="186"/>
                </a:lnTo>
                <a:lnTo>
                  <a:pt x="2532" y="232"/>
                </a:lnTo>
                <a:lnTo>
                  <a:pt x="2612" y="283"/>
                </a:lnTo>
                <a:lnTo>
                  <a:pt x="2689" y="338"/>
                </a:lnTo>
                <a:lnTo>
                  <a:pt x="2763" y="396"/>
                </a:lnTo>
                <a:lnTo>
                  <a:pt x="2833" y="459"/>
                </a:lnTo>
                <a:lnTo>
                  <a:pt x="2900" y="526"/>
                </a:lnTo>
                <a:lnTo>
                  <a:pt x="2963" y="596"/>
                </a:lnTo>
                <a:lnTo>
                  <a:pt x="3021" y="669"/>
                </a:lnTo>
                <a:lnTo>
                  <a:pt x="3076" y="747"/>
                </a:lnTo>
                <a:lnTo>
                  <a:pt x="3127" y="826"/>
                </a:lnTo>
                <a:lnTo>
                  <a:pt x="3173" y="908"/>
                </a:lnTo>
                <a:lnTo>
                  <a:pt x="3214" y="995"/>
                </a:lnTo>
                <a:lnTo>
                  <a:pt x="3251" y="1083"/>
                </a:lnTo>
                <a:lnTo>
                  <a:pt x="3283" y="1173"/>
                </a:lnTo>
                <a:lnTo>
                  <a:pt x="3309" y="1267"/>
                </a:lnTo>
                <a:lnTo>
                  <a:pt x="3330" y="1362"/>
                </a:lnTo>
                <a:lnTo>
                  <a:pt x="3346" y="1458"/>
                </a:lnTo>
                <a:lnTo>
                  <a:pt x="3356" y="1557"/>
                </a:lnTo>
                <a:lnTo>
                  <a:pt x="3356" y="1559"/>
                </a:lnTo>
                <a:lnTo>
                  <a:pt x="3357" y="1560"/>
                </a:lnTo>
                <a:lnTo>
                  <a:pt x="3357" y="1561"/>
                </a:lnTo>
                <a:lnTo>
                  <a:pt x="3356" y="1562"/>
                </a:lnTo>
                <a:lnTo>
                  <a:pt x="3360" y="1621"/>
                </a:lnTo>
                <a:lnTo>
                  <a:pt x="3361" y="1680"/>
                </a:lnTo>
                <a:lnTo>
                  <a:pt x="3358" y="1783"/>
                </a:lnTo>
                <a:lnTo>
                  <a:pt x="3349" y="1885"/>
                </a:lnTo>
                <a:lnTo>
                  <a:pt x="3334" y="1984"/>
                </a:lnTo>
                <a:lnTo>
                  <a:pt x="3312" y="2082"/>
                </a:lnTo>
                <a:lnTo>
                  <a:pt x="3286" y="2178"/>
                </a:lnTo>
                <a:lnTo>
                  <a:pt x="3254" y="2270"/>
                </a:lnTo>
                <a:lnTo>
                  <a:pt x="3217" y="2361"/>
                </a:lnTo>
                <a:lnTo>
                  <a:pt x="3175" y="2448"/>
                </a:lnTo>
                <a:lnTo>
                  <a:pt x="3128" y="2533"/>
                </a:lnTo>
                <a:lnTo>
                  <a:pt x="3076" y="2615"/>
                </a:lnTo>
                <a:lnTo>
                  <a:pt x="3020" y="2694"/>
                </a:lnTo>
                <a:lnTo>
                  <a:pt x="2960" y="2769"/>
                </a:lnTo>
                <a:lnTo>
                  <a:pt x="2956" y="2773"/>
                </a:lnTo>
                <a:lnTo>
                  <a:pt x="2952" y="2777"/>
                </a:lnTo>
                <a:lnTo>
                  <a:pt x="2888" y="2848"/>
                </a:lnTo>
                <a:lnTo>
                  <a:pt x="2821" y="2913"/>
                </a:lnTo>
                <a:lnTo>
                  <a:pt x="2750" y="2975"/>
                </a:lnTo>
                <a:lnTo>
                  <a:pt x="2676" y="3033"/>
                </a:lnTo>
                <a:lnTo>
                  <a:pt x="2598" y="3087"/>
                </a:lnTo>
                <a:lnTo>
                  <a:pt x="2518" y="3137"/>
                </a:lnTo>
                <a:lnTo>
                  <a:pt x="2434" y="3183"/>
                </a:lnTo>
                <a:lnTo>
                  <a:pt x="2348" y="3222"/>
                </a:lnTo>
                <a:lnTo>
                  <a:pt x="2258" y="3258"/>
                </a:lnTo>
                <a:lnTo>
                  <a:pt x="2167" y="3289"/>
                </a:lnTo>
                <a:lnTo>
                  <a:pt x="2074" y="3314"/>
                </a:lnTo>
                <a:lnTo>
                  <a:pt x="1978" y="3335"/>
                </a:lnTo>
                <a:lnTo>
                  <a:pt x="1880" y="3349"/>
                </a:lnTo>
                <a:lnTo>
                  <a:pt x="1781" y="3358"/>
                </a:lnTo>
                <a:lnTo>
                  <a:pt x="1679" y="3361"/>
                </a:lnTo>
                <a:lnTo>
                  <a:pt x="1580" y="3358"/>
                </a:lnTo>
                <a:lnTo>
                  <a:pt x="1481" y="3349"/>
                </a:lnTo>
                <a:lnTo>
                  <a:pt x="1383" y="3335"/>
                </a:lnTo>
                <a:lnTo>
                  <a:pt x="1287" y="3314"/>
                </a:lnTo>
                <a:lnTo>
                  <a:pt x="1194" y="3289"/>
                </a:lnTo>
                <a:lnTo>
                  <a:pt x="1103" y="3258"/>
                </a:lnTo>
                <a:lnTo>
                  <a:pt x="1013" y="3222"/>
                </a:lnTo>
                <a:lnTo>
                  <a:pt x="927" y="3183"/>
                </a:lnTo>
                <a:lnTo>
                  <a:pt x="843" y="3137"/>
                </a:lnTo>
                <a:lnTo>
                  <a:pt x="763" y="3087"/>
                </a:lnTo>
                <a:lnTo>
                  <a:pt x="685" y="3033"/>
                </a:lnTo>
                <a:lnTo>
                  <a:pt x="611" y="2975"/>
                </a:lnTo>
                <a:lnTo>
                  <a:pt x="540" y="2913"/>
                </a:lnTo>
                <a:lnTo>
                  <a:pt x="473" y="2848"/>
                </a:lnTo>
                <a:lnTo>
                  <a:pt x="409" y="2777"/>
                </a:lnTo>
                <a:lnTo>
                  <a:pt x="405" y="2773"/>
                </a:lnTo>
                <a:lnTo>
                  <a:pt x="401" y="2769"/>
                </a:lnTo>
                <a:lnTo>
                  <a:pt x="362" y="2720"/>
                </a:lnTo>
                <a:lnTo>
                  <a:pt x="360" y="2717"/>
                </a:lnTo>
                <a:lnTo>
                  <a:pt x="356" y="2714"/>
                </a:lnTo>
                <a:lnTo>
                  <a:pt x="354" y="2711"/>
                </a:lnTo>
                <a:lnTo>
                  <a:pt x="296" y="2632"/>
                </a:lnTo>
                <a:lnTo>
                  <a:pt x="242" y="2548"/>
                </a:lnTo>
                <a:lnTo>
                  <a:pt x="194" y="2463"/>
                </a:lnTo>
                <a:lnTo>
                  <a:pt x="150" y="2373"/>
                </a:lnTo>
                <a:lnTo>
                  <a:pt x="111" y="2281"/>
                </a:lnTo>
                <a:lnTo>
                  <a:pt x="78" y="2187"/>
                </a:lnTo>
                <a:lnTo>
                  <a:pt x="51" y="2090"/>
                </a:lnTo>
                <a:lnTo>
                  <a:pt x="29" y="1990"/>
                </a:lnTo>
                <a:lnTo>
                  <a:pt x="13" y="1889"/>
                </a:lnTo>
                <a:lnTo>
                  <a:pt x="3" y="1785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6" name="Freeform 79"/>
          <p:cNvSpPr>
            <a:spLocks noChangeAspect="1" noEditPoints="1"/>
          </p:cNvSpPr>
          <p:nvPr>
            <p:custDataLst>
              <p:tags r:id="rId8"/>
            </p:custDataLst>
          </p:nvPr>
        </p:nvSpPr>
        <p:spPr bwMode="auto">
          <a:xfrm>
            <a:off x="3454826" y="5233656"/>
            <a:ext cx="216000" cy="216000"/>
          </a:xfrm>
          <a:custGeom>
            <a:avLst/>
            <a:gdLst>
              <a:gd name="T0" fmla="*/ 1526 w 3361"/>
              <a:gd name="T1" fmla="*/ 2630 h 3361"/>
              <a:gd name="T2" fmla="*/ 1420 w 3361"/>
              <a:gd name="T3" fmla="*/ 2292 h 3361"/>
              <a:gd name="T4" fmla="*/ 1907 w 3361"/>
              <a:gd name="T5" fmla="*/ 1912 h 3361"/>
              <a:gd name="T6" fmla="*/ 2275 w 3361"/>
              <a:gd name="T7" fmla="*/ 1906 h 3361"/>
              <a:gd name="T8" fmla="*/ 2326 w 3361"/>
              <a:gd name="T9" fmla="*/ 2006 h 3361"/>
              <a:gd name="T10" fmla="*/ 2308 w 3361"/>
              <a:gd name="T11" fmla="*/ 2628 h 3361"/>
              <a:gd name="T12" fmla="*/ 1932 w 3361"/>
              <a:gd name="T13" fmla="*/ 2608 h 3361"/>
              <a:gd name="T14" fmla="*/ 1819 w 3361"/>
              <a:gd name="T15" fmla="*/ 2602 h 3361"/>
              <a:gd name="T16" fmla="*/ 1813 w 3361"/>
              <a:gd name="T17" fmla="*/ 1974 h 3361"/>
              <a:gd name="T18" fmla="*/ 2018 w 3361"/>
              <a:gd name="T19" fmla="*/ 1750 h 3361"/>
              <a:gd name="T20" fmla="*/ 1651 w 3361"/>
              <a:gd name="T21" fmla="*/ 1962 h 3361"/>
              <a:gd name="T22" fmla="*/ 1561 w 3361"/>
              <a:gd name="T23" fmla="*/ 2384 h 3361"/>
              <a:gd name="T24" fmla="*/ 1810 w 3361"/>
              <a:gd name="T25" fmla="*/ 2725 h 3361"/>
              <a:gd name="T26" fmla="*/ 2241 w 3361"/>
              <a:gd name="T27" fmla="*/ 2770 h 3361"/>
              <a:gd name="T28" fmla="*/ 2553 w 3361"/>
              <a:gd name="T29" fmla="*/ 2488 h 3361"/>
              <a:gd name="T30" fmla="*/ 2553 w 3361"/>
              <a:gd name="T31" fmla="*/ 2055 h 3361"/>
              <a:gd name="T32" fmla="*/ 2241 w 3361"/>
              <a:gd name="T33" fmla="*/ 1773 h 3361"/>
              <a:gd name="T34" fmla="*/ 1564 w 3361"/>
              <a:gd name="T35" fmla="*/ 1861 h 3361"/>
              <a:gd name="T36" fmla="*/ 1353 w 3361"/>
              <a:gd name="T37" fmla="*/ 1746 h 3361"/>
              <a:gd name="T38" fmla="*/ 1483 w 3361"/>
              <a:gd name="T39" fmla="*/ 1615 h 3361"/>
              <a:gd name="T40" fmla="*/ 958 w 3361"/>
              <a:gd name="T41" fmla="*/ 1408 h 3361"/>
              <a:gd name="T42" fmla="*/ 1878 w 3361"/>
              <a:gd name="T43" fmla="*/ 1277 h 3361"/>
              <a:gd name="T44" fmla="*/ 2008 w 3361"/>
              <a:gd name="T45" fmla="*/ 731 h 3361"/>
              <a:gd name="T46" fmla="*/ 2356 w 3361"/>
              <a:gd name="T47" fmla="*/ 731 h 3361"/>
              <a:gd name="T48" fmla="*/ 990 w 3361"/>
              <a:gd name="T49" fmla="*/ 734 h 3361"/>
              <a:gd name="T50" fmla="*/ 1005 w 3361"/>
              <a:gd name="T51" fmla="*/ 731 h 3361"/>
              <a:gd name="T52" fmla="*/ 2510 w 3361"/>
              <a:gd name="T53" fmla="*/ 688 h 3361"/>
              <a:gd name="T54" fmla="*/ 2665 w 3361"/>
              <a:gd name="T55" fmla="*/ 1988 h 3361"/>
              <a:gd name="T56" fmla="*/ 2704 w 3361"/>
              <a:gd name="T57" fmla="*/ 2456 h 3361"/>
              <a:gd name="T58" fmla="*/ 2423 w 3361"/>
              <a:gd name="T59" fmla="*/ 2827 h 3361"/>
              <a:gd name="T60" fmla="*/ 1952 w 3361"/>
              <a:gd name="T61" fmla="*/ 2916 h 3361"/>
              <a:gd name="T62" fmla="*/ 973 w 3361"/>
              <a:gd name="T63" fmla="*/ 2758 h 3361"/>
              <a:gd name="T64" fmla="*/ 827 w 3361"/>
              <a:gd name="T65" fmla="*/ 2583 h 3361"/>
              <a:gd name="T66" fmla="*/ 943 w 3361"/>
              <a:gd name="T67" fmla="*/ 612 h 3361"/>
              <a:gd name="T68" fmla="*/ 1209 w 3361"/>
              <a:gd name="T69" fmla="*/ 204 h 3361"/>
              <a:gd name="T70" fmla="*/ 586 w 3361"/>
              <a:gd name="T71" fmla="*/ 586 h 3361"/>
              <a:gd name="T72" fmla="*/ 204 w 3361"/>
              <a:gd name="T73" fmla="*/ 1209 h 3361"/>
              <a:gd name="T74" fmla="*/ 158 w 3361"/>
              <a:gd name="T75" fmla="*/ 1969 h 3361"/>
              <a:gd name="T76" fmla="*/ 463 w 3361"/>
              <a:gd name="T77" fmla="*/ 2639 h 3361"/>
              <a:gd name="T78" fmla="*/ 1036 w 3361"/>
              <a:gd name="T79" fmla="*/ 3089 h 3361"/>
              <a:gd name="T80" fmla="*/ 1778 w 3361"/>
              <a:gd name="T81" fmla="*/ 3228 h 3361"/>
              <a:gd name="T82" fmla="*/ 2488 w 3361"/>
              <a:gd name="T83" fmla="*/ 3002 h 3361"/>
              <a:gd name="T84" fmla="*/ 3003 w 3361"/>
              <a:gd name="T85" fmla="*/ 2488 h 3361"/>
              <a:gd name="T86" fmla="*/ 3228 w 3361"/>
              <a:gd name="T87" fmla="*/ 1778 h 3361"/>
              <a:gd name="T88" fmla="*/ 3089 w 3361"/>
              <a:gd name="T89" fmla="*/ 1036 h 3361"/>
              <a:gd name="T90" fmla="*/ 2639 w 3361"/>
              <a:gd name="T91" fmla="*/ 463 h 3361"/>
              <a:gd name="T92" fmla="*/ 1969 w 3361"/>
              <a:gd name="T93" fmla="*/ 158 h 3361"/>
              <a:gd name="T94" fmla="*/ 2079 w 3361"/>
              <a:gd name="T95" fmla="*/ 48 h 3361"/>
              <a:gd name="T96" fmla="*/ 2762 w 3361"/>
              <a:gd name="T97" fmla="*/ 396 h 3361"/>
              <a:gd name="T98" fmla="*/ 3219 w 3361"/>
              <a:gd name="T99" fmla="*/ 1005 h 3361"/>
              <a:gd name="T100" fmla="*/ 3358 w 3361"/>
              <a:gd name="T101" fmla="*/ 1782 h 3361"/>
              <a:gd name="T102" fmla="*/ 3131 w 3361"/>
              <a:gd name="T103" fmla="*/ 2528 h 3361"/>
              <a:gd name="T104" fmla="*/ 2609 w 3361"/>
              <a:gd name="T105" fmla="*/ 3080 h 3361"/>
              <a:gd name="T106" fmla="*/ 1883 w 3361"/>
              <a:gd name="T107" fmla="*/ 3349 h 3361"/>
              <a:gd name="T108" fmla="*/ 1095 w 3361"/>
              <a:gd name="T109" fmla="*/ 3256 h 3361"/>
              <a:gd name="T110" fmla="*/ 459 w 3361"/>
              <a:gd name="T111" fmla="*/ 2834 h 3361"/>
              <a:gd name="T112" fmla="*/ 74 w 3361"/>
              <a:gd name="T113" fmla="*/ 2173 h 3361"/>
              <a:gd name="T114" fmla="*/ 27 w 3361"/>
              <a:gd name="T115" fmla="*/ 1379 h 3361"/>
              <a:gd name="T116" fmla="*/ 336 w 3361"/>
              <a:gd name="T117" fmla="*/ 673 h 3361"/>
              <a:gd name="T118" fmla="*/ 918 w 3361"/>
              <a:gd name="T119" fmla="*/ 183 h 3361"/>
              <a:gd name="T120" fmla="*/ 1679 w 3361"/>
              <a:gd name="T121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361" h="3361">
                <a:moveTo>
                  <a:pt x="958" y="2422"/>
                </a:moveTo>
                <a:lnTo>
                  <a:pt x="958" y="2583"/>
                </a:lnTo>
                <a:lnTo>
                  <a:pt x="960" y="2597"/>
                </a:lnTo>
                <a:lnTo>
                  <a:pt x="967" y="2610"/>
                </a:lnTo>
                <a:lnTo>
                  <a:pt x="977" y="2621"/>
                </a:lnTo>
                <a:lnTo>
                  <a:pt x="990" y="2628"/>
                </a:lnTo>
                <a:lnTo>
                  <a:pt x="1005" y="2630"/>
                </a:lnTo>
                <a:lnTo>
                  <a:pt x="1526" y="2630"/>
                </a:lnTo>
                <a:lnTo>
                  <a:pt x="1497" y="2581"/>
                </a:lnTo>
                <a:lnTo>
                  <a:pt x="1473" y="2531"/>
                </a:lnTo>
                <a:lnTo>
                  <a:pt x="1452" y="2477"/>
                </a:lnTo>
                <a:lnTo>
                  <a:pt x="1437" y="2422"/>
                </a:lnTo>
                <a:lnTo>
                  <a:pt x="958" y="2422"/>
                </a:lnTo>
                <a:close/>
                <a:moveTo>
                  <a:pt x="958" y="2084"/>
                </a:moveTo>
                <a:lnTo>
                  <a:pt x="958" y="2292"/>
                </a:lnTo>
                <a:lnTo>
                  <a:pt x="1420" y="2292"/>
                </a:lnTo>
                <a:lnTo>
                  <a:pt x="1419" y="2271"/>
                </a:lnTo>
                <a:lnTo>
                  <a:pt x="1422" y="2207"/>
                </a:lnTo>
                <a:lnTo>
                  <a:pt x="1431" y="2145"/>
                </a:lnTo>
                <a:lnTo>
                  <a:pt x="1446" y="2084"/>
                </a:lnTo>
                <a:lnTo>
                  <a:pt x="958" y="2084"/>
                </a:lnTo>
                <a:close/>
                <a:moveTo>
                  <a:pt x="1875" y="1906"/>
                </a:moveTo>
                <a:lnTo>
                  <a:pt x="1891" y="1907"/>
                </a:lnTo>
                <a:lnTo>
                  <a:pt x="1907" y="1912"/>
                </a:lnTo>
                <a:lnTo>
                  <a:pt x="1921" y="1922"/>
                </a:lnTo>
                <a:lnTo>
                  <a:pt x="1932" y="1935"/>
                </a:lnTo>
                <a:lnTo>
                  <a:pt x="2075" y="2152"/>
                </a:lnTo>
                <a:lnTo>
                  <a:pt x="2217" y="1935"/>
                </a:lnTo>
                <a:lnTo>
                  <a:pt x="2228" y="1922"/>
                </a:lnTo>
                <a:lnTo>
                  <a:pt x="2243" y="1912"/>
                </a:lnTo>
                <a:lnTo>
                  <a:pt x="2258" y="1907"/>
                </a:lnTo>
                <a:lnTo>
                  <a:pt x="2275" y="1906"/>
                </a:lnTo>
                <a:lnTo>
                  <a:pt x="2292" y="1909"/>
                </a:lnTo>
                <a:lnTo>
                  <a:pt x="2308" y="1916"/>
                </a:lnTo>
                <a:lnTo>
                  <a:pt x="2321" y="1927"/>
                </a:lnTo>
                <a:lnTo>
                  <a:pt x="2330" y="1941"/>
                </a:lnTo>
                <a:lnTo>
                  <a:pt x="2335" y="1958"/>
                </a:lnTo>
                <a:lnTo>
                  <a:pt x="2337" y="1974"/>
                </a:lnTo>
                <a:lnTo>
                  <a:pt x="2334" y="1990"/>
                </a:lnTo>
                <a:lnTo>
                  <a:pt x="2326" y="2006"/>
                </a:lnTo>
                <a:lnTo>
                  <a:pt x="2153" y="2271"/>
                </a:lnTo>
                <a:lnTo>
                  <a:pt x="2326" y="2537"/>
                </a:lnTo>
                <a:lnTo>
                  <a:pt x="2334" y="2553"/>
                </a:lnTo>
                <a:lnTo>
                  <a:pt x="2337" y="2570"/>
                </a:lnTo>
                <a:lnTo>
                  <a:pt x="2335" y="2586"/>
                </a:lnTo>
                <a:lnTo>
                  <a:pt x="2330" y="2602"/>
                </a:lnTo>
                <a:lnTo>
                  <a:pt x="2321" y="2616"/>
                </a:lnTo>
                <a:lnTo>
                  <a:pt x="2308" y="2628"/>
                </a:lnTo>
                <a:lnTo>
                  <a:pt x="2292" y="2635"/>
                </a:lnTo>
                <a:lnTo>
                  <a:pt x="2275" y="2638"/>
                </a:lnTo>
                <a:lnTo>
                  <a:pt x="2258" y="2637"/>
                </a:lnTo>
                <a:lnTo>
                  <a:pt x="2243" y="2632"/>
                </a:lnTo>
                <a:lnTo>
                  <a:pt x="2228" y="2622"/>
                </a:lnTo>
                <a:lnTo>
                  <a:pt x="2217" y="2608"/>
                </a:lnTo>
                <a:lnTo>
                  <a:pt x="2075" y="2391"/>
                </a:lnTo>
                <a:lnTo>
                  <a:pt x="1932" y="2608"/>
                </a:lnTo>
                <a:lnTo>
                  <a:pt x="1921" y="2622"/>
                </a:lnTo>
                <a:lnTo>
                  <a:pt x="1907" y="2632"/>
                </a:lnTo>
                <a:lnTo>
                  <a:pt x="1891" y="2637"/>
                </a:lnTo>
                <a:lnTo>
                  <a:pt x="1875" y="2638"/>
                </a:lnTo>
                <a:lnTo>
                  <a:pt x="1858" y="2635"/>
                </a:lnTo>
                <a:lnTo>
                  <a:pt x="1842" y="2628"/>
                </a:lnTo>
                <a:lnTo>
                  <a:pt x="1829" y="2616"/>
                </a:lnTo>
                <a:lnTo>
                  <a:pt x="1819" y="2602"/>
                </a:lnTo>
                <a:lnTo>
                  <a:pt x="1814" y="2586"/>
                </a:lnTo>
                <a:lnTo>
                  <a:pt x="1813" y="2570"/>
                </a:lnTo>
                <a:lnTo>
                  <a:pt x="1816" y="2553"/>
                </a:lnTo>
                <a:lnTo>
                  <a:pt x="1823" y="2537"/>
                </a:lnTo>
                <a:lnTo>
                  <a:pt x="1996" y="2271"/>
                </a:lnTo>
                <a:lnTo>
                  <a:pt x="1823" y="2006"/>
                </a:lnTo>
                <a:lnTo>
                  <a:pt x="1816" y="1990"/>
                </a:lnTo>
                <a:lnTo>
                  <a:pt x="1813" y="1974"/>
                </a:lnTo>
                <a:lnTo>
                  <a:pt x="1814" y="1958"/>
                </a:lnTo>
                <a:lnTo>
                  <a:pt x="1819" y="1941"/>
                </a:lnTo>
                <a:lnTo>
                  <a:pt x="1829" y="1927"/>
                </a:lnTo>
                <a:lnTo>
                  <a:pt x="1842" y="1916"/>
                </a:lnTo>
                <a:lnTo>
                  <a:pt x="1858" y="1909"/>
                </a:lnTo>
                <a:lnTo>
                  <a:pt x="1875" y="1906"/>
                </a:lnTo>
                <a:close/>
                <a:moveTo>
                  <a:pt x="2075" y="1747"/>
                </a:moveTo>
                <a:lnTo>
                  <a:pt x="2018" y="1750"/>
                </a:lnTo>
                <a:lnTo>
                  <a:pt x="1963" y="1759"/>
                </a:lnTo>
                <a:lnTo>
                  <a:pt x="1909" y="1773"/>
                </a:lnTo>
                <a:lnTo>
                  <a:pt x="1858" y="1794"/>
                </a:lnTo>
                <a:lnTo>
                  <a:pt x="1810" y="1818"/>
                </a:lnTo>
                <a:lnTo>
                  <a:pt x="1765" y="1848"/>
                </a:lnTo>
                <a:lnTo>
                  <a:pt x="1723" y="1882"/>
                </a:lnTo>
                <a:lnTo>
                  <a:pt x="1685" y="1920"/>
                </a:lnTo>
                <a:lnTo>
                  <a:pt x="1651" y="1962"/>
                </a:lnTo>
                <a:lnTo>
                  <a:pt x="1621" y="2006"/>
                </a:lnTo>
                <a:lnTo>
                  <a:pt x="1596" y="2055"/>
                </a:lnTo>
                <a:lnTo>
                  <a:pt x="1577" y="2106"/>
                </a:lnTo>
                <a:lnTo>
                  <a:pt x="1561" y="2159"/>
                </a:lnTo>
                <a:lnTo>
                  <a:pt x="1552" y="2214"/>
                </a:lnTo>
                <a:lnTo>
                  <a:pt x="1549" y="2271"/>
                </a:lnTo>
                <a:lnTo>
                  <a:pt x="1552" y="2329"/>
                </a:lnTo>
                <a:lnTo>
                  <a:pt x="1561" y="2384"/>
                </a:lnTo>
                <a:lnTo>
                  <a:pt x="1577" y="2437"/>
                </a:lnTo>
                <a:lnTo>
                  <a:pt x="1596" y="2488"/>
                </a:lnTo>
                <a:lnTo>
                  <a:pt x="1621" y="2537"/>
                </a:lnTo>
                <a:lnTo>
                  <a:pt x="1651" y="2582"/>
                </a:lnTo>
                <a:lnTo>
                  <a:pt x="1685" y="2624"/>
                </a:lnTo>
                <a:lnTo>
                  <a:pt x="1723" y="2661"/>
                </a:lnTo>
                <a:lnTo>
                  <a:pt x="1765" y="2695"/>
                </a:lnTo>
                <a:lnTo>
                  <a:pt x="1810" y="2725"/>
                </a:lnTo>
                <a:lnTo>
                  <a:pt x="1858" y="2750"/>
                </a:lnTo>
                <a:lnTo>
                  <a:pt x="1909" y="2770"/>
                </a:lnTo>
                <a:lnTo>
                  <a:pt x="1963" y="2785"/>
                </a:lnTo>
                <a:lnTo>
                  <a:pt x="2018" y="2794"/>
                </a:lnTo>
                <a:lnTo>
                  <a:pt x="2075" y="2797"/>
                </a:lnTo>
                <a:lnTo>
                  <a:pt x="2132" y="2794"/>
                </a:lnTo>
                <a:lnTo>
                  <a:pt x="2188" y="2785"/>
                </a:lnTo>
                <a:lnTo>
                  <a:pt x="2241" y="2770"/>
                </a:lnTo>
                <a:lnTo>
                  <a:pt x="2292" y="2750"/>
                </a:lnTo>
                <a:lnTo>
                  <a:pt x="2339" y="2725"/>
                </a:lnTo>
                <a:lnTo>
                  <a:pt x="2384" y="2695"/>
                </a:lnTo>
                <a:lnTo>
                  <a:pt x="2426" y="2661"/>
                </a:lnTo>
                <a:lnTo>
                  <a:pt x="2465" y="2624"/>
                </a:lnTo>
                <a:lnTo>
                  <a:pt x="2498" y="2582"/>
                </a:lnTo>
                <a:lnTo>
                  <a:pt x="2528" y="2537"/>
                </a:lnTo>
                <a:lnTo>
                  <a:pt x="2553" y="2488"/>
                </a:lnTo>
                <a:lnTo>
                  <a:pt x="2573" y="2437"/>
                </a:lnTo>
                <a:lnTo>
                  <a:pt x="2588" y="2384"/>
                </a:lnTo>
                <a:lnTo>
                  <a:pt x="2597" y="2329"/>
                </a:lnTo>
                <a:lnTo>
                  <a:pt x="2600" y="2271"/>
                </a:lnTo>
                <a:lnTo>
                  <a:pt x="2597" y="2214"/>
                </a:lnTo>
                <a:lnTo>
                  <a:pt x="2588" y="2159"/>
                </a:lnTo>
                <a:lnTo>
                  <a:pt x="2573" y="2106"/>
                </a:lnTo>
                <a:lnTo>
                  <a:pt x="2553" y="2055"/>
                </a:lnTo>
                <a:lnTo>
                  <a:pt x="2528" y="2006"/>
                </a:lnTo>
                <a:lnTo>
                  <a:pt x="2498" y="1962"/>
                </a:lnTo>
                <a:lnTo>
                  <a:pt x="2465" y="1920"/>
                </a:lnTo>
                <a:lnTo>
                  <a:pt x="2426" y="1882"/>
                </a:lnTo>
                <a:lnTo>
                  <a:pt x="2384" y="1848"/>
                </a:lnTo>
                <a:lnTo>
                  <a:pt x="2339" y="1818"/>
                </a:lnTo>
                <a:lnTo>
                  <a:pt x="2292" y="1794"/>
                </a:lnTo>
                <a:lnTo>
                  <a:pt x="2241" y="1773"/>
                </a:lnTo>
                <a:lnTo>
                  <a:pt x="2188" y="1759"/>
                </a:lnTo>
                <a:lnTo>
                  <a:pt x="2132" y="1750"/>
                </a:lnTo>
                <a:lnTo>
                  <a:pt x="2075" y="1747"/>
                </a:lnTo>
                <a:close/>
                <a:moveTo>
                  <a:pt x="1483" y="1746"/>
                </a:moveTo>
                <a:lnTo>
                  <a:pt x="1483" y="1953"/>
                </a:lnTo>
                <a:lnTo>
                  <a:pt x="1501" y="1953"/>
                </a:lnTo>
                <a:lnTo>
                  <a:pt x="1531" y="1906"/>
                </a:lnTo>
                <a:lnTo>
                  <a:pt x="1564" y="1861"/>
                </a:lnTo>
                <a:lnTo>
                  <a:pt x="1601" y="1819"/>
                </a:lnTo>
                <a:lnTo>
                  <a:pt x="1641" y="1781"/>
                </a:lnTo>
                <a:lnTo>
                  <a:pt x="1685" y="1746"/>
                </a:lnTo>
                <a:lnTo>
                  <a:pt x="1483" y="1746"/>
                </a:lnTo>
                <a:close/>
                <a:moveTo>
                  <a:pt x="958" y="1746"/>
                </a:moveTo>
                <a:lnTo>
                  <a:pt x="958" y="1953"/>
                </a:lnTo>
                <a:lnTo>
                  <a:pt x="1353" y="1953"/>
                </a:lnTo>
                <a:lnTo>
                  <a:pt x="1353" y="1746"/>
                </a:lnTo>
                <a:lnTo>
                  <a:pt x="958" y="1746"/>
                </a:lnTo>
                <a:close/>
                <a:moveTo>
                  <a:pt x="2008" y="1408"/>
                </a:moveTo>
                <a:lnTo>
                  <a:pt x="2008" y="1615"/>
                </a:lnTo>
                <a:lnTo>
                  <a:pt x="2403" y="1615"/>
                </a:lnTo>
                <a:lnTo>
                  <a:pt x="2403" y="1408"/>
                </a:lnTo>
                <a:lnTo>
                  <a:pt x="2008" y="1408"/>
                </a:lnTo>
                <a:close/>
                <a:moveTo>
                  <a:pt x="1483" y="1408"/>
                </a:moveTo>
                <a:lnTo>
                  <a:pt x="1483" y="1615"/>
                </a:lnTo>
                <a:lnTo>
                  <a:pt x="1878" y="1615"/>
                </a:lnTo>
                <a:lnTo>
                  <a:pt x="1878" y="1408"/>
                </a:lnTo>
                <a:lnTo>
                  <a:pt x="1483" y="1408"/>
                </a:lnTo>
                <a:close/>
                <a:moveTo>
                  <a:pt x="958" y="1408"/>
                </a:moveTo>
                <a:lnTo>
                  <a:pt x="958" y="1615"/>
                </a:lnTo>
                <a:lnTo>
                  <a:pt x="1353" y="1615"/>
                </a:lnTo>
                <a:lnTo>
                  <a:pt x="1353" y="1408"/>
                </a:lnTo>
                <a:lnTo>
                  <a:pt x="958" y="1408"/>
                </a:lnTo>
                <a:close/>
                <a:moveTo>
                  <a:pt x="2008" y="1069"/>
                </a:moveTo>
                <a:lnTo>
                  <a:pt x="2008" y="1277"/>
                </a:lnTo>
                <a:lnTo>
                  <a:pt x="2403" y="1277"/>
                </a:lnTo>
                <a:lnTo>
                  <a:pt x="2403" y="1069"/>
                </a:lnTo>
                <a:lnTo>
                  <a:pt x="2008" y="1069"/>
                </a:lnTo>
                <a:close/>
                <a:moveTo>
                  <a:pt x="1483" y="1069"/>
                </a:moveTo>
                <a:lnTo>
                  <a:pt x="1483" y="1277"/>
                </a:lnTo>
                <a:lnTo>
                  <a:pt x="1878" y="1277"/>
                </a:lnTo>
                <a:lnTo>
                  <a:pt x="1878" y="1069"/>
                </a:lnTo>
                <a:lnTo>
                  <a:pt x="1483" y="1069"/>
                </a:lnTo>
                <a:close/>
                <a:moveTo>
                  <a:pt x="958" y="1069"/>
                </a:moveTo>
                <a:lnTo>
                  <a:pt x="958" y="1277"/>
                </a:lnTo>
                <a:lnTo>
                  <a:pt x="1353" y="1277"/>
                </a:lnTo>
                <a:lnTo>
                  <a:pt x="1353" y="1069"/>
                </a:lnTo>
                <a:lnTo>
                  <a:pt x="958" y="1069"/>
                </a:lnTo>
                <a:close/>
                <a:moveTo>
                  <a:pt x="2008" y="731"/>
                </a:moveTo>
                <a:lnTo>
                  <a:pt x="2008" y="939"/>
                </a:lnTo>
                <a:lnTo>
                  <a:pt x="2403" y="939"/>
                </a:lnTo>
                <a:lnTo>
                  <a:pt x="2403" y="778"/>
                </a:lnTo>
                <a:lnTo>
                  <a:pt x="2401" y="764"/>
                </a:lnTo>
                <a:lnTo>
                  <a:pt x="2394" y="751"/>
                </a:lnTo>
                <a:lnTo>
                  <a:pt x="2384" y="740"/>
                </a:lnTo>
                <a:lnTo>
                  <a:pt x="2371" y="734"/>
                </a:lnTo>
                <a:lnTo>
                  <a:pt x="2356" y="731"/>
                </a:lnTo>
                <a:lnTo>
                  <a:pt x="2008" y="731"/>
                </a:lnTo>
                <a:close/>
                <a:moveTo>
                  <a:pt x="1483" y="731"/>
                </a:moveTo>
                <a:lnTo>
                  <a:pt x="1483" y="939"/>
                </a:lnTo>
                <a:lnTo>
                  <a:pt x="1878" y="939"/>
                </a:lnTo>
                <a:lnTo>
                  <a:pt x="1878" y="731"/>
                </a:lnTo>
                <a:lnTo>
                  <a:pt x="1483" y="731"/>
                </a:lnTo>
                <a:close/>
                <a:moveTo>
                  <a:pt x="1005" y="731"/>
                </a:moveTo>
                <a:lnTo>
                  <a:pt x="990" y="734"/>
                </a:lnTo>
                <a:lnTo>
                  <a:pt x="977" y="740"/>
                </a:lnTo>
                <a:lnTo>
                  <a:pt x="967" y="751"/>
                </a:lnTo>
                <a:lnTo>
                  <a:pt x="960" y="764"/>
                </a:lnTo>
                <a:lnTo>
                  <a:pt x="958" y="778"/>
                </a:lnTo>
                <a:lnTo>
                  <a:pt x="958" y="939"/>
                </a:lnTo>
                <a:lnTo>
                  <a:pt x="1353" y="939"/>
                </a:lnTo>
                <a:lnTo>
                  <a:pt x="1353" y="731"/>
                </a:lnTo>
                <a:lnTo>
                  <a:pt x="1005" y="731"/>
                </a:lnTo>
                <a:close/>
                <a:moveTo>
                  <a:pt x="1005" y="601"/>
                </a:moveTo>
                <a:lnTo>
                  <a:pt x="2356" y="601"/>
                </a:lnTo>
                <a:lnTo>
                  <a:pt x="2388" y="604"/>
                </a:lnTo>
                <a:lnTo>
                  <a:pt x="2418" y="612"/>
                </a:lnTo>
                <a:lnTo>
                  <a:pt x="2445" y="625"/>
                </a:lnTo>
                <a:lnTo>
                  <a:pt x="2471" y="643"/>
                </a:lnTo>
                <a:lnTo>
                  <a:pt x="2492" y="664"/>
                </a:lnTo>
                <a:lnTo>
                  <a:pt x="2510" y="688"/>
                </a:lnTo>
                <a:lnTo>
                  <a:pt x="2523" y="716"/>
                </a:lnTo>
                <a:lnTo>
                  <a:pt x="2531" y="747"/>
                </a:lnTo>
                <a:lnTo>
                  <a:pt x="2534" y="778"/>
                </a:lnTo>
                <a:lnTo>
                  <a:pt x="2534" y="1804"/>
                </a:lnTo>
                <a:lnTo>
                  <a:pt x="2573" y="1845"/>
                </a:lnTo>
                <a:lnTo>
                  <a:pt x="2607" y="1890"/>
                </a:lnTo>
                <a:lnTo>
                  <a:pt x="2639" y="1937"/>
                </a:lnTo>
                <a:lnTo>
                  <a:pt x="2665" y="1988"/>
                </a:lnTo>
                <a:lnTo>
                  <a:pt x="2689" y="2040"/>
                </a:lnTo>
                <a:lnTo>
                  <a:pt x="2707" y="2095"/>
                </a:lnTo>
                <a:lnTo>
                  <a:pt x="2719" y="2152"/>
                </a:lnTo>
                <a:lnTo>
                  <a:pt x="2728" y="2211"/>
                </a:lnTo>
                <a:lnTo>
                  <a:pt x="2731" y="2271"/>
                </a:lnTo>
                <a:lnTo>
                  <a:pt x="2728" y="2334"/>
                </a:lnTo>
                <a:lnTo>
                  <a:pt x="2719" y="2396"/>
                </a:lnTo>
                <a:lnTo>
                  <a:pt x="2704" y="2456"/>
                </a:lnTo>
                <a:lnTo>
                  <a:pt x="2685" y="2513"/>
                </a:lnTo>
                <a:lnTo>
                  <a:pt x="2660" y="2568"/>
                </a:lnTo>
                <a:lnTo>
                  <a:pt x="2631" y="2620"/>
                </a:lnTo>
                <a:lnTo>
                  <a:pt x="2597" y="2668"/>
                </a:lnTo>
                <a:lnTo>
                  <a:pt x="2558" y="2714"/>
                </a:lnTo>
                <a:lnTo>
                  <a:pt x="2517" y="2756"/>
                </a:lnTo>
                <a:lnTo>
                  <a:pt x="2472" y="2794"/>
                </a:lnTo>
                <a:lnTo>
                  <a:pt x="2423" y="2827"/>
                </a:lnTo>
                <a:lnTo>
                  <a:pt x="2371" y="2857"/>
                </a:lnTo>
                <a:lnTo>
                  <a:pt x="2316" y="2881"/>
                </a:lnTo>
                <a:lnTo>
                  <a:pt x="2259" y="2902"/>
                </a:lnTo>
                <a:lnTo>
                  <a:pt x="2199" y="2916"/>
                </a:lnTo>
                <a:lnTo>
                  <a:pt x="2138" y="2925"/>
                </a:lnTo>
                <a:lnTo>
                  <a:pt x="2075" y="2928"/>
                </a:lnTo>
                <a:lnTo>
                  <a:pt x="2013" y="2925"/>
                </a:lnTo>
                <a:lnTo>
                  <a:pt x="1952" y="2916"/>
                </a:lnTo>
                <a:lnTo>
                  <a:pt x="1893" y="2902"/>
                </a:lnTo>
                <a:lnTo>
                  <a:pt x="1837" y="2883"/>
                </a:lnTo>
                <a:lnTo>
                  <a:pt x="1783" y="2859"/>
                </a:lnTo>
                <a:lnTo>
                  <a:pt x="1732" y="2830"/>
                </a:lnTo>
                <a:lnTo>
                  <a:pt x="1684" y="2798"/>
                </a:lnTo>
                <a:lnTo>
                  <a:pt x="1639" y="2760"/>
                </a:lnTo>
                <a:lnTo>
                  <a:pt x="1005" y="2760"/>
                </a:lnTo>
                <a:lnTo>
                  <a:pt x="973" y="2758"/>
                </a:lnTo>
                <a:lnTo>
                  <a:pt x="943" y="2749"/>
                </a:lnTo>
                <a:lnTo>
                  <a:pt x="916" y="2737"/>
                </a:lnTo>
                <a:lnTo>
                  <a:pt x="890" y="2718"/>
                </a:lnTo>
                <a:lnTo>
                  <a:pt x="869" y="2697"/>
                </a:lnTo>
                <a:lnTo>
                  <a:pt x="851" y="2673"/>
                </a:lnTo>
                <a:lnTo>
                  <a:pt x="838" y="2645"/>
                </a:lnTo>
                <a:lnTo>
                  <a:pt x="830" y="2614"/>
                </a:lnTo>
                <a:lnTo>
                  <a:pt x="827" y="2583"/>
                </a:lnTo>
                <a:lnTo>
                  <a:pt x="827" y="778"/>
                </a:lnTo>
                <a:lnTo>
                  <a:pt x="830" y="747"/>
                </a:lnTo>
                <a:lnTo>
                  <a:pt x="838" y="716"/>
                </a:lnTo>
                <a:lnTo>
                  <a:pt x="851" y="688"/>
                </a:lnTo>
                <a:lnTo>
                  <a:pt x="869" y="664"/>
                </a:lnTo>
                <a:lnTo>
                  <a:pt x="890" y="643"/>
                </a:lnTo>
                <a:lnTo>
                  <a:pt x="916" y="625"/>
                </a:lnTo>
                <a:lnTo>
                  <a:pt x="943" y="612"/>
                </a:lnTo>
                <a:lnTo>
                  <a:pt x="973" y="604"/>
                </a:lnTo>
                <a:lnTo>
                  <a:pt x="1005" y="601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7" name="Freeform 7"/>
          <p:cNvSpPr>
            <a:spLocks noChangeAspect="1" noEditPoints="1"/>
          </p:cNvSpPr>
          <p:nvPr>
            <p:custDataLst>
              <p:tags r:id="rId9"/>
            </p:custDataLst>
          </p:nvPr>
        </p:nvSpPr>
        <p:spPr bwMode="auto">
          <a:xfrm>
            <a:off x="3454826" y="4517534"/>
            <a:ext cx="216000" cy="216000"/>
          </a:xfrm>
          <a:custGeom>
            <a:avLst/>
            <a:gdLst>
              <a:gd name="T0" fmla="*/ 2165 w 3361"/>
              <a:gd name="T1" fmla="*/ 2860 h 3361"/>
              <a:gd name="T2" fmla="*/ 2102 w 3361"/>
              <a:gd name="T3" fmla="*/ 2942 h 3361"/>
              <a:gd name="T4" fmla="*/ 1114 w 3361"/>
              <a:gd name="T5" fmla="*/ 2877 h 3361"/>
              <a:gd name="T6" fmla="*/ 1179 w 3361"/>
              <a:gd name="T7" fmla="*/ 2494 h 3361"/>
              <a:gd name="T8" fmla="*/ 2167 w 3361"/>
              <a:gd name="T9" fmla="*/ 2559 h 3361"/>
              <a:gd name="T10" fmla="*/ 1179 w 3361"/>
              <a:gd name="T11" fmla="*/ 2625 h 3361"/>
              <a:gd name="T12" fmla="*/ 1116 w 3361"/>
              <a:gd name="T13" fmla="*/ 2542 h 3361"/>
              <a:gd name="T14" fmla="*/ 2102 w 3361"/>
              <a:gd name="T15" fmla="*/ 2175 h 3361"/>
              <a:gd name="T16" fmla="*/ 2165 w 3361"/>
              <a:gd name="T17" fmla="*/ 2259 h 3361"/>
              <a:gd name="T18" fmla="*/ 1162 w 3361"/>
              <a:gd name="T19" fmla="*/ 2304 h 3361"/>
              <a:gd name="T20" fmla="*/ 1123 w 3361"/>
              <a:gd name="T21" fmla="*/ 2208 h 3361"/>
              <a:gd name="T22" fmla="*/ 2038 w 3361"/>
              <a:gd name="T23" fmla="*/ 1858 h 3361"/>
              <a:gd name="T24" fmla="*/ 791 w 3361"/>
              <a:gd name="T25" fmla="*/ 2947 h 3361"/>
              <a:gd name="T26" fmla="*/ 2149 w 3361"/>
              <a:gd name="T27" fmla="*/ 1119 h 3361"/>
              <a:gd name="T28" fmla="*/ 2149 w 3361"/>
              <a:gd name="T29" fmla="*/ 1970 h 3361"/>
              <a:gd name="T30" fmla="*/ 1134 w 3361"/>
              <a:gd name="T31" fmla="*/ 1970 h 3361"/>
              <a:gd name="T32" fmla="*/ 1134 w 3361"/>
              <a:gd name="T33" fmla="*/ 1119 h 3361"/>
              <a:gd name="T34" fmla="*/ 1077 w 3361"/>
              <a:gd name="T35" fmla="*/ 3106 h 3361"/>
              <a:gd name="T36" fmla="*/ 1679 w 3361"/>
              <a:gd name="T37" fmla="*/ 3230 h 3361"/>
              <a:gd name="T38" fmla="*/ 2332 w 3361"/>
              <a:gd name="T39" fmla="*/ 3086 h 3361"/>
              <a:gd name="T40" fmla="*/ 2848 w 3361"/>
              <a:gd name="T41" fmla="*/ 2696 h 3361"/>
              <a:gd name="T42" fmla="*/ 2362 w 3361"/>
              <a:gd name="T43" fmla="*/ 2577 h 3361"/>
              <a:gd name="T44" fmla="*/ 2425 w 3361"/>
              <a:gd name="T45" fmla="*/ 2494 h 3361"/>
              <a:gd name="T46" fmla="*/ 2392 w 3361"/>
              <a:gd name="T47" fmla="*/ 2298 h 3361"/>
              <a:gd name="T48" fmla="*/ 2379 w 3361"/>
              <a:gd name="T49" fmla="*/ 2195 h 3361"/>
              <a:gd name="T50" fmla="*/ 3208 w 3361"/>
              <a:gd name="T51" fmla="*/ 1935 h 3361"/>
              <a:gd name="T52" fmla="*/ 3188 w 3361"/>
              <a:gd name="T53" fmla="*/ 1322 h 3361"/>
              <a:gd name="T54" fmla="*/ 1679 w 3361"/>
              <a:gd name="T55" fmla="*/ 131 h 3361"/>
              <a:gd name="T56" fmla="*/ 1036 w 3361"/>
              <a:gd name="T57" fmla="*/ 272 h 3361"/>
              <a:gd name="T58" fmla="*/ 522 w 3361"/>
              <a:gd name="T59" fmla="*/ 652 h 3361"/>
              <a:gd name="T60" fmla="*/ 205 w 3361"/>
              <a:gd name="T61" fmla="*/ 1209 h 3361"/>
              <a:gd name="T62" fmla="*/ 144 w 3361"/>
              <a:gd name="T63" fmla="*/ 1878 h 3361"/>
              <a:gd name="T64" fmla="*/ 368 w 3361"/>
              <a:gd name="T65" fmla="*/ 2501 h 3361"/>
              <a:gd name="T66" fmla="*/ 508 w 3361"/>
              <a:gd name="T67" fmla="*/ 1073 h 3361"/>
              <a:gd name="T68" fmla="*/ 810 w 3361"/>
              <a:gd name="T69" fmla="*/ 805 h 3361"/>
              <a:gd name="T70" fmla="*/ 2767 w 3361"/>
              <a:gd name="T71" fmla="*/ 578 h 3361"/>
              <a:gd name="T72" fmla="*/ 2235 w 3361"/>
              <a:gd name="T73" fmla="*/ 234 h 3361"/>
              <a:gd name="T74" fmla="*/ 1679 w 3361"/>
              <a:gd name="T75" fmla="*/ 0 h 3361"/>
              <a:gd name="T76" fmla="*/ 2352 w 3361"/>
              <a:gd name="T77" fmla="*/ 140 h 3361"/>
              <a:gd name="T78" fmla="*/ 2895 w 3361"/>
              <a:gd name="T79" fmla="*/ 520 h 3361"/>
              <a:gd name="T80" fmla="*/ 3175 w 3361"/>
              <a:gd name="T81" fmla="*/ 912 h 3361"/>
              <a:gd name="T82" fmla="*/ 3358 w 3361"/>
              <a:gd name="T83" fmla="*/ 1578 h 3361"/>
              <a:gd name="T84" fmla="*/ 3256 w 3361"/>
              <a:gd name="T85" fmla="*/ 2264 h 3361"/>
              <a:gd name="T86" fmla="*/ 3094 w 3361"/>
              <a:gd name="T87" fmla="*/ 2587 h 3361"/>
              <a:gd name="T88" fmla="*/ 2699 w 3361"/>
              <a:gd name="T89" fmla="*/ 3016 h 3361"/>
              <a:gd name="T90" fmla="*/ 2084 w 3361"/>
              <a:gd name="T91" fmla="*/ 3312 h 3361"/>
              <a:gd name="T92" fmla="*/ 1378 w 3361"/>
              <a:gd name="T93" fmla="*/ 3334 h 3361"/>
              <a:gd name="T94" fmla="*/ 829 w 3361"/>
              <a:gd name="T95" fmla="*/ 3129 h 3361"/>
              <a:gd name="T96" fmla="*/ 496 w 3361"/>
              <a:gd name="T97" fmla="*/ 2872 h 3361"/>
              <a:gd name="T98" fmla="*/ 171 w 3361"/>
              <a:gd name="T99" fmla="*/ 2419 h 3361"/>
              <a:gd name="T100" fmla="*/ 3 w 3361"/>
              <a:gd name="T101" fmla="*/ 1779 h 3361"/>
              <a:gd name="T102" fmla="*/ 105 w 3361"/>
              <a:gd name="T103" fmla="*/ 1095 h 3361"/>
              <a:gd name="T104" fmla="*/ 459 w 3361"/>
              <a:gd name="T105" fmla="*/ 528 h 3361"/>
              <a:gd name="T106" fmla="*/ 1005 w 3361"/>
              <a:gd name="T107" fmla="*/ 142 h 3361"/>
              <a:gd name="T108" fmla="*/ 1679 w 3361"/>
              <a:gd name="T109" fmla="*/ 0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3361" h="3361">
                <a:moveTo>
                  <a:pt x="1179" y="2812"/>
                </a:moveTo>
                <a:lnTo>
                  <a:pt x="2102" y="2812"/>
                </a:lnTo>
                <a:lnTo>
                  <a:pt x="2119" y="2814"/>
                </a:lnTo>
                <a:lnTo>
                  <a:pt x="2136" y="2821"/>
                </a:lnTo>
                <a:lnTo>
                  <a:pt x="2149" y="2831"/>
                </a:lnTo>
                <a:lnTo>
                  <a:pt x="2159" y="2845"/>
                </a:lnTo>
                <a:lnTo>
                  <a:pt x="2165" y="2860"/>
                </a:lnTo>
                <a:lnTo>
                  <a:pt x="2167" y="2877"/>
                </a:lnTo>
                <a:lnTo>
                  <a:pt x="2165" y="2895"/>
                </a:lnTo>
                <a:lnTo>
                  <a:pt x="2159" y="2910"/>
                </a:lnTo>
                <a:lnTo>
                  <a:pt x="2149" y="2923"/>
                </a:lnTo>
                <a:lnTo>
                  <a:pt x="2136" y="2933"/>
                </a:lnTo>
                <a:lnTo>
                  <a:pt x="2119" y="2940"/>
                </a:lnTo>
                <a:lnTo>
                  <a:pt x="2102" y="2942"/>
                </a:lnTo>
                <a:lnTo>
                  <a:pt x="1179" y="2942"/>
                </a:lnTo>
                <a:lnTo>
                  <a:pt x="1162" y="2940"/>
                </a:lnTo>
                <a:lnTo>
                  <a:pt x="1147" y="2933"/>
                </a:lnTo>
                <a:lnTo>
                  <a:pt x="1134" y="2923"/>
                </a:lnTo>
                <a:lnTo>
                  <a:pt x="1123" y="2910"/>
                </a:lnTo>
                <a:lnTo>
                  <a:pt x="1116" y="2895"/>
                </a:lnTo>
                <a:lnTo>
                  <a:pt x="1114" y="2877"/>
                </a:lnTo>
                <a:lnTo>
                  <a:pt x="1116" y="2860"/>
                </a:lnTo>
                <a:lnTo>
                  <a:pt x="1123" y="2845"/>
                </a:lnTo>
                <a:lnTo>
                  <a:pt x="1134" y="2831"/>
                </a:lnTo>
                <a:lnTo>
                  <a:pt x="1147" y="2821"/>
                </a:lnTo>
                <a:lnTo>
                  <a:pt x="1162" y="2814"/>
                </a:lnTo>
                <a:lnTo>
                  <a:pt x="1179" y="2812"/>
                </a:lnTo>
                <a:close/>
                <a:moveTo>
                  <a:pt x="1179" y="2494"/>
                </a:moveTo>
                <a:lnTo>
                  <a:pt x="2102" y="2494"/>
                </a:lnTo>
                <a:lnTo>
                  <a:pt x="2119" y="2496"/>
                </a:lnTo>
                <a:lnTo>
                  <a:pt x="2136" y="2502"/>
                </a:lnTo>
                <a:lnTo>
                  <a:pt x="2149" y="2513"/>
                </a:lnTo>
                <a:lnTo>
                  <a:pt x="2159" y="2526"/>
                </a:lnTo>
                <a:lnTo>
                  <a:pt x="2165" y="2542"/>
                </a:lnTo>
                <a:lnTo>
                  <a:pt x="2167" y="2559"/>
                </a:lnTo>
                <a:lnTo>
                  <a:pt x="2165" y="2577"/>
                </a:lnTo>
                <a:lnTo>
                  <a:pt x="2159" y="2592"/>
                </a:lnTo>
                <a:lnTo>
                  <a:pt x="2149" y="2605"/>
                </a:lnTo>
                <a:lnTo>
                  <a:pt x="2136" y="2615"/>
                </a:lnTo>
                <a:lnTo>
                  <a:pt x="2119" y="2623"/>
                </a:lnTo>
                <a:lnTo>
                  <a:pt x="2102" y="2625"/>
                </a:lnTo>
                <a:lnTo>
                  <a:pt x="1179" y="2625"/>
                </a:lnTo>
                <a:lnTo>
                  <a:pt x="1162" y="2623"/>
                </a:lnTo>
                <a:lnTo>
                  <a:pt x="1147" y="2615"/>
                </a:lnTo>
                <a:lnTo>
                  <a:pt x="1134" y="2605"/>
                </a:lnTo>
                <a:lnTo>
                  <a:pt x="1123" y="2592"/>
                </a:lnTo>
                <a:lnTo>
                  <a:pt x="1116" y="2577"/>
                </a:lnTo>
                <a:lnTo>
                  <a:pt x="1114" y="2559"/>
                </a:lnTo>
                <a:lnTo>
                  <a:pt x="1116" y="2542"/>
                </a:lnTo>
                <a:lnTo>
                  <a:pt x="1123" y="2526"/>
                </a:lnTo>
                <a:lnTo>
                  <a:pt x="1134" y="2513"/>
                </a:lnTo>
                <a:lnTo>
                  <a:pt x="1147" y="2502"/>
                </a:lnTo>
                <a:lnTo>
                  <a:pt x="1162" y="2496"/>
                </a:lnTo>
                <a:lnTo>
                  <a:pt x="1179" y="2494"/>
                </a:lnTo>
                <a:close/>
                <a:moveTo>
                  <a:pt x="1179" y="2175"/>
                </a:moveTo>
                <a:lnTo>
                  <a:pt x="2102" y="2175"/>
                </a:lnTo>
                <a:lnTo>
                  <a:pt x="2119" y="2179"/>
                </a:lnTo>
                <a:lnTo>
                  <a:pt x="2136" y="2185"/>
                </a:lnTo>
                <a:lnTo>
                  <a:pt x="2149" y="2195"/>
                </a:lnTo>
                <a:lnTo>
                  <a:pt x="2159" y="2208"/>
                </a:lnTo>
                <a:lnTo>
                  <a:pt x="2165" y="2224"/>
                </a:lnTo>
                <a:lnTo>
                  <a:pt x="2167" y="2242"/>
                </a:lnTo>
                <a:lnTo>
                  <a:pt x="2165" y="2259"/>
                </a:lnTo>
                <a:lnTo>
                  <a:pt x="2159" y="2274"/>
                </a:lnTo>
                <a:lnTo>
                  <a:pt x="2149" y="2288"/>
                </a:lnTo>
                <a:lnTo>
                  <a:pt x="2136" y="2298"/>
                </a:lnTo>
                <a:lnTo>
                  <a:pt x="2119" y="2304"/>
                </a:lnTo>
                <a:lnTo>
                  <a:pt x="2102" y="2307"/>
                </a:lnTo>
                <a:lnTo>
                  <a:pt x="1179" y="2307"/>
                </a:lnTo>
                <a:lnTo>
                  <a:pt x="1162" y="2304"/>
                </a:lnTo>
                <a:lnTo>
                  <a:pt x="1147" y="2298"/>
                </a:lnTo>
                <a:lnTo>
                  <a:pt x="1134" y="2288"/>
                </a:lnTo>
                <a:lnTo>
                  <a:pt x="1123" y="2274"/>
                </a:lnTo>
                <a:lnTo>
                  <a:pt x="1116" y="2259"/>
                </a:lnTo>
                <a:lnTo>
                  <a:pt x="1114" y="2242"/>
                </a:lnTo>
                <a:lnTo>
                  <a:pt x="1116" y="2224"/>
                </a:lnTo>
                <a:lnTo>
                  <a:pt x="1123" y="2208"/>
                </a:lnTo>
                <a:lnTo>
                  <a:pt x="1134" y="2195"/>
                </a:lnTo>
                <a:lnTo>
                  <a:pt x="1147" y="2185"/>
                </a:lnTo>
                <a:lnTo>
                  <a:pt x="1162" y="2179"/>
                </a:lnTo>
                <a:lnTo>
                  <a:pt x="1179" y="2175"/>
                </a:lnTo>
                <a:close/>
                <a:moveTo>
                  <a:pt x="1245" y="1231"/>
                </a:moveTo>
                <a:lnTo>
                  <a:pt x="1245" y="1858"/>
                </a:lnTo>
                <a:lnTo>
                  <a:pt x="2038" y="1858"/>
                </a:lnTo>
                <a:lnTo>
                  <a:pt x="2038" y="1231"/>
                </a:lnTo>
                <a:lnTo>
                  <a:pt x="1245" y="1231"/>
                </a:lnTo>
                <a:close/>
                <a:moveTo>
                  <a:pt x="607" y="1196"/>
                </a:moveTo>
                <a:lnTo>
                  <a:pt x="607" y="2796"/>
                </a:lnTo>
                <a:lnTo>
                  <a:pt x="666" y="2850"/>
                </a:lnTo>
                <a:lnTo>
                  <a:pt x="727" y="2900"/>
                </a:lnTo>
                <a:lnTo>
                  <a:pt x="791" y="2947"/>
                </a:lnTo>
                <a:lnTo>
                  <a:pt x="791" y="1196"/>
                </a:lnTo>
                <a:lnTo>
                  <a:pt x="607" y="1196"/>
                </a:lnTo>
                <a:close/>
                <a:moveTo>
                  <a:pt x="1179" y="1101"/>
                </a:moveTo>
                <a:lnTo>
                  <a:pt x="2103" y="1101"/>
                </a:lnTo>
                <a:lnTo>
                  <a:pt x="2120" y="1103"/>
                </a:lnTo>
                <a:lnTo>
                  <a:pt x="2136" y="1109"/>
                </a:lnTo>
                <a:lnTo>
                  <a:pt x="2149" y="1119"/>
                </a:lnTo>
                <a:lnTo>
                  <a:pt x="2159" y="1133"/>
                </a:lnTo>
                <a:lnTo>
                  <a:pt x="2166" y="1149"/>
                </a:lnTo>
                <a:lnTo>
                  <a:pt x="2168" y="1166"/>
                </a:lnTo>
                <a:lnTo>
                  <a:pt x="2168" y="1923"/>
                </a:lnTo>
                <a:lnTo>
                  <a:pt x="2166" y="1940"/>
                </a:lnTo>
                <a:lnTo>
                  <a:pt x="2159" y="1957"/>
                </a:lnTo>
                <a:lnTo>
                  <a:pt x="2149" y="1970"/>
                </a:lnTo>
                <a:lnTo>
                  <a:pt x="2136" y="1980"/>
                </a:lnTo>
                <a:lnTo>
                  <a:pt x="2120" y="1986"/>
                </a:lnTo>
                <a:lnTo>
                  <a:pt x="2103" y="1989"/>
                </a:lnTo>
                <a:lnTo>
                  <a:pt x="1179" y="1989"/>
                </a:lnTo>
                <a:lnTo>
                  <a:pt x="1162" y="1986"/>
                </a:lnTo>
                <a:lnTo>
                  <a:pt x="1147" y="1980"/>
                </a:lnTo>
                <a:lnTo>
                  <a:pt x="1134" y="1970"/>
                </a:lnTo>
                <a:lnTo>
                  <a:pt x="1123" y="1957"/>
                </a:lnTo>
                <a:lnTo>
                  <a:pt x="1116" y="1940"/>
                </a:lnTo>
                <a:lnTo>
                  <a:pt x="1114" y="1923"/>
                </a:lnTo>
                <a:lnTo>
                  <a:pt x="1114" y="1166"/>
                </a:lnTo>
                <a:lnTo>
                  <a:pt x="1116" y="1149"/>
                </a:lnTo>
                <a:lnTo>
                  <a:pt x="1123" y="1133"/>
                </a:lnTo>
                <a:lnTo>
                  <a:pt x="1134" y="1119"/>
                </a:lnTo>
                <a:lnTo>
                  <a:pt x="1147" y="1109"/>
                </a:lnTo>
                <a:lnTo>
                  <a:pt x="1162" y="1103"/>
                </a:lnTo>
                <a:lnTo>
                  <a:pt x="1179" y="1101"/>
                </a:lnTo>
                <a:close/>
                <a:moveTo>
                  <a:pt x="922" y="917"/>
                </a:moveTo>
                <a:lnTo>
                  <a:pt x="922" y="3030"/>
                </a:lnTo>
                <a:lnTo>
                  <a:pt x="998" y="3071"/>
                </a:lnTo>
                <a:lnTo>
                  <a:pt x="1077" y="3106"/>
                </a:lnTo>
                <a:lnTo>
                  <a:pt x="1157" y="3138"/>
                </a:lnTo>
                <a:lnTo>
                  <a:pt x="1240" y="3165"/>
                </a:lnTo>
                <a:lnTo>
                  <a:pt x="1325" y="3189"/>
                </a:lnTo>
                <a:lnTo>
                  <a:pt x="1412" y="3206"/>
                </a:lnTo>
                <a:lnTo>
                  <a:pt x="1499" y="3219"/>
                </a:lnTo>
                <a:lnTo>
                  <a:pt x="1589" y="3228"/>
                </a:lnTo>
                <a:lnTo>
                  <a:pt x="1679" y="3230"/>
                </a:lnTo>
                <a:lnTo>
                  <a:pt x="1779" y="3227"/>
                </a:lnTo>
                <a:lnTo>
                  <a:pt x="1877" y="3217"/>
                </a:lnTo>
                <a:lnTo>
                  <a:pt x="1973" y="3202"/>
                </a:lnTo>
                <a:lnTo>
                  <a:pt x="2065" y="3182"/>
                </a:lnTo>
                <a:lnTo>
                  <a:pt x="2157" y="3154"/>
                </a:lnTo>
                <a:lnTo>
                  <a:pt x="2246" y="3123"/>
                </a:lnTo>
                <a:lnTo>
                  <a:pt x="2332" y="3086"/>
                </a:lnTo>
                <a:lnTo>
                  <a:pt x="2416" y="3043"/>
                </a:lnTo>
                <a:lnTo>
                  <a:pt x="2496" y="2996"/>
                </a:lnTo>
                <a:lnTo>
                  <a:pt x="2574" y="2944"/>
                </a:lnTo>
                <a:lnTo>
                  <a:pt x="2647" y="2888"/>
                </a:lnTo>
                <a:lnTo>
                  <a:pt x="2718" y="2828"/>
                </a:lnTo>
                <a:lnTo>
                  <a:pt x="2785" y="2764"/>
                </a:lnTo>
                <a:lnTo>
                  <a:pt x="2848" y="2696"/>
                </a:lnTo>
                <a:lnTo>
                  <a:pt x="2907" y="2625"/>
                </a:lnTo>
                <a:lnTo>
                  <a:pt x="2425" y="2625"/>
                </a:lnTo>
                <a:lnTo>
                  <a:pt x="2408" y="2623"/>
                </a:lnTo>
                <a:lnTo>
                  <a:pt x="2392" y="2615"/>
                </a:lnTo>
                <a:lnTo>
                  <a:pt x="2379" y="2605"/>
                </a:lnTo>
                <a:lnTo>
                  <a:pt x="2369" y="2592"/>
                </a:lnTo>
                <a:lnTo>
                  <a:pt x="2362" y="2577"/>
                </a:lnTo>
                <a:lnTo>
                  <a:pt x="2360" y="2559"/>
                </a:lnTo>
                <a:lnTo>
                  <a:pt x="2362" y="2542"/>
                </a:lnTo>
                <a:lnTo>
                  <a:pt x="2369" y="2526"/>
                </a:lnTo>
                <a:lnTo>
                  <a:pt x="2379" y="2513"/>
                </a:lnTo>
                <a:lnTo>
                  <a:pt x="2392" y="2502"/>
                </a:lnTo>
                <a:lnTo>
                  <a:pt x="2408" y="2496"/>
                </a:lnTo>
                <a:lnTo>
                  <a:pt x="2425" y="2494"/>
                </a:lnTo>
                <a:lnTo>
                  <a:pt x="2997" y="2494"/>
                </a:lnTo>
                <a:lnTo>
                  <a:pt x="3033" y="2433"/>
                </a:lnTo>
                <a:lnTo>
                  <a:pt x="3067" y="2371"/>
                </a:lnTo>
                <a:lnTo>
                  <a:pt x="3097" y="2307"/>
                </a:lnTo>
                <a:lnTo>
                  <a:pt x="2425" y="2307"/>
                </a:lnTo>
                <a:lnTo>
                  <a:pt x="2408" y="2304"/>
                </a:lnTo>
                <a:lnTo>
                  <a:pt x="2392" y="2298"/>
                </a:lnTo>
                <a:lnTo>
                  <a:pt x="2379" y="2288"/>
                </a:lnTo>
                <a:lnTo>
                  <a:pt x="2369" y="2274"/>
                </a:lnTo>
                <a:lnTo>
                  <a:pt x="2362" y="2259"/>
                </a:lnTo>
                <a:lnTo>
                  <a:pt x="2360" y="2242"/>
                </a:lnTo>
                <a:lnTo>
                  <a:pt x="2362" y="2224"/>
                </a:lnTo>
                <a:lnTo>
                  <a:pt x="2369" y="2208"/>
                </a:lnTo>
                <a:lnTo>
                  <a:pt x="2379" y="2195"/>
                </a:lnTo>
                <a:lnTo>
                  <a:pt x="2392" y="2185"/>
                </a:lnTo>
                <a:lnTo>
                  <a:pt x="2408" y="2179"/>
                </a:lnTo>
                <a:lnTo>
                  <a:pt x="2425" y="2175"/>
                </a:lnTo>
                <a:lnTo>
                  <a:pt x="3147" y="2175"/>
                </a:lnTo>
                <a:lnTo>
                  <a:pt x="3172" y="2097"/>
                </a:lnTo>
                <a:lnTo>
                  <a:pt x="3192" y="2017"/>
                </a:lnTo>
                <a:lnTo>
                  <a:pt x="3208" y="1935"/>
                </a:lnTo>
                <a:lnTo>
                  <a:pt x="3220" y="1852"/>
                </a:lnTo>
                <a:lnTo>
                  <a:pt x="3228" y="1767"/>
                </a:lnTo>
                <a:lnTo>
                  <a:pt x="3230" y="1680"/>
                </a:lnTo>
                <a:lnTo>
                  <a:pt x="3228" y="1589"/>
                </a:lnTo>
                <a:lnTo>
                  <a:pt x="3219" y="1498"/>
                </a:lnTo>
                <a:lnTo>
                  <a:pt x="3206" y="1409"/>
                </a:lnTo>
                <a:lnTo>
                  <a:pt x="3188" y="1322"/>
                </a:lnTo>
                <a:lnTo>
                  <a:pt x="3164" y="1236"/>
                </a:lnTo>
                <a:lnTo>
                  <a:pt x="3137" y="1153"/>
                </a:lnTo>
                <a:lnTo>
                  <a:pt x="3104" y="1071"/>
                </a:lnTo>
                <a:lnTo>
                  <a:pt x="3068" y="993"/>
                </a:lnTo>
                <a:lnTo>
                  <a:pt x="3027" y="917"/>
                </a:lnTo>
                <a:lnTo>
                  <a:pt x="922" y="917"/>
                </a:lnTo>
                <a:close/>
                <a:moveTo>
                  <a:pt x="1679" y="131"/>
                </a:moveTo>
                <a:lnTo>
                  <a:pt x="1583" y="134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5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9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9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5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4" y="1583"/>
                </a:lnTo>
                <a:lnTo>
                  <a:pt x="131" y="1680"/>
                </a:lnTo>
                <a:lnTo>
                  <a:pt x="134" y="1780"/>
                </a:lnTo>
                <a:lnTo>
                  <a:pt x="144" y="1878"/>
                </a:lnTo>
                <a:lnTo>
                  <a:pt x="159" y="1975"/>
                </a:lnTo>
                <a:lnTo>
                  <a:pt x="180" y="2069"/>
                </a:lnTo>
                <a:lnTo>
                  <a:pt x="208" y="2160"/>
                </a:lnTo>
                <a:lnTo>
                  <a:pt x="239" y="2250"/>
                </a:lnTo>
                <a:lnTo>
                  <a:pt x="277" y="2336"/>
                </a:lnTo>
                <a:lnTo>
                  <a:pt x="320" y="2421"/>
                </a:lnTo>
                <a:lnTo>
                  <a:pt x="368" y="2501"/>
                </a:lnTo>
                <a:lnTo>
                  <a:pt x="420" y="2579"/>
                </a:lnTo>
                <a:lnTo>
                  <a:pt x="476" y="2653"/>
                </a:lnTo>
                <a:lnTo>
                  <a:pt x="476" y="1131"/>
                </a:lnTo>
                <a:lnTo>
                  <a:pt x="479" y="1112"/>
                </a:lnTo>
                <a:lnTo>
                  <a:pt x="485" y="1097"/>
                </a:lnTo>
                <a:lnTo>
                  <a:pt x="495" y="1084"/>
                </a:lnTo>
                <a:lnTo>
                  <a:pt x="508" y="1073"/>
                </a:lnTo>
                <a:lnTo>
                  <a:pt x="525" y="1066"/>
                </a:lnTo>
                <a:lnTo>
                  <a:pt x="542" y="1064"/>
                </a:lnTo>
                <a:lnTo>
                  <a:pt x="791" y="1064"/>
                </a:lnTo>
                <a:lnTo>
                  <a:pt x="791" y="851"/>
                </a:lnTo>
                <a:lnTo>
                  <a:pt x="793" y="834"/>
                </a:lnTo>
                <a:lnTo>
                  <a:pt x="800" y="818"/>
                </a:lnTo>
                <a:lnTo>
                  <a:pt x="810" y="805"/>
                </a:lnTo>
                <a:lnTo>
                  <a:pt x="823" y="794"/>
                </a:lnTo>
                <a:lnTo>
                  <a:pt x="839" y="788"/>
                </a:lnTo>
                <a:lnTo>
                  <a:pt x="857" y="786"/>
                </a:lnTo>
                <a:lnTo>
                  <a:pt x="2943" y="786"/>
                </a:lnTo>
                <a:lnTo>
                  <a:pt x="2888" y="713"/>
                </a:lnTo>
                <a:lnTo>
                  <a:pt x="2829" y="644"/>
                </a:lnTo>
                <a:lnTo>
                  <a:pt x="2767" y="578"/>
                </a:lnTo>
                <a:lnTo>
                  <a:pt x="2701" y="516"/>
                </a:lnTo>
                <a:lnTo>
                  <a:pt x="2631" y="458"/>
                </a:lnTo>
                <a:lnTo>
                  <a:pt x="2557" y="404"/>
                </a:lnTo>
                <a:lnTo>
                  <a:pt x="2481" y="355"/>
                </a:lnTo>
                <a:lnTo>
                  <a:pt x="2402" y="310"/>
                </a:lnTo>
                <a:lnTo>
                  <a:pt x="2320" y="270"/>
                </a:lnTo>
                <a:lnTo>
                  <a:pt x="2235" y="234"/>
                </a:lnTo>
                <a:lnTo>
                  <a:pt x="2148" y="203"/>
                </a:lnTo>
                <a:lnTo>
                  <a:pt x="2058" y="177"/>
                </a:lnTo>
                <a:lnTo>
                  <a:pt x="1967" y="158"/>
                </a:lnTo>
                <a:lnTo>
                  <a:pt x="1873" y="143"/>
                </a:lnTo>
                <a:lnTo>
                  <a:pt x="1777" y="134"/>
                </a:lnTo>
                <a:lnTo>
                  <a:pt x="1679" y="131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2" y="12"/>
                </a:lnTo>
                <a:lnTo>
                  <a:pt x="1980" y="26"/>
                </a:lnTo>
                <a:lnTo>
                  <a:pt x="2077" y="47"/>
                </a:lnTo>
                <a:lnTo>
                  <a:pt x="2170" y="73"/>
                </a:lnTo>
                <a:lnTo>
                  <a:pt x="2262" y="104"/>
                </a:lnTo>
                <a:lnTo>
                  <a:pt x="2352" y="140"/>
                </a:lnTo>
                <a:lnTo>
                  <a:pt x="2438" y="181"/>
                </a:lnTo>
                <a:lnTo>
                  <a:pt x="2523" y="227"/>
                </a:lnTo>
                <a:lnTo>
                  <a:pt x="2603" y="277"/>
                </a:lnTo>
                <a:lnTo>
                  <a:pt x="2682" y="332"/>
                </a:lnTo>
                <a:lnTo>
                  <a:pt x="2756" y="391"/>
                </a:lnTo>
                <a:lnTo>
                  <a:pt x="2827" y="453"/>
                </a:lnTo>
                <a:lnTo>
                  <a:pt x="2895" y="520"/>
                </a:lnTo>
                <a:lnTo>
                  <a:pt x="2959" y="591"/>
                </a:lnTo>
                <a:lnTo>
                  <a:pt x="3018" y="665"/>
                </a:lnTo>
                <a:lnTo>
                  <a:pt x="3074" y="742"/>
                </a:lnTo>
                <a:lnTo>
                  <a:pt x="3125" y="823"/>
                </a:lnTo>
                <a:lnTo>
                  <a:pt x="3126" y="825"/>
                </a:lnTo>
                <a:lnTo>
                  <a:pt x="3127" y="826"/>
                </a:lnTo>
                <a:lnTo>
                  <a:pt x="3175" y="912"/>
                </a:lnTo>
                <a:lnTo>
                  <a:pt x="3216" y="999"/>
                </a:lnTo>
                <a:lnTo>
                  <a:pt x="3254" y="1090"/>
                </a:lnTo>
                <a:lnTo>
                  <a:pt x="3286" y="1183"/>
                </a:lnTo>
                <a:lnTo>
                  <a:pt x="3312" y="1278"/>
                </a:lnTo>
                <a:lnTo>
                  <a:pt x="3334" y="1376"/>
                </a:lnTo>
                <a:lnTo>
                  <a:pt x="3349" y="1476"/>
                </a:lnTo>
                <a:lnTo>
                  <a:pt x="3358" y="1578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2"/>
                </a:lnTo>
                <a:lnTo>
                  <a:pt x="3334" y="1981"/>
                </a:lnTo>
                <a:lnTo>
                  <a:pt x="3313" y="2078"/>
                </a:lnTo>
                <a:lnTo>
                  <a:pt x="3288" y="2171"/>
                </a:lnTo>
                <a:lnTo>
                  <a:pt x="3256" y="2264"/>
                </a:lnTo>
                <a:lnTo>
                  <a:pt x="3256" y="2266"/>
                </a:lnTo>
                <a:lnTo>
                  <a:pt x="3254" y="2269"/>
                </a:lnTo>
                <a:lnTo>
                  <a:pt x="3221" y="2351"/>
                </a:lnTo>
                <a:lnTo>
                  <a:pt x="3184" y="2431"/>
                </a:lnTo>
                <a:lnTo>
                  <a:pt x="3142" y="2509"/>
                </a:lnTo>
                <a:lnTo>
                  <a:pt x="3096" y="2584"/>
                </a:lnTo>
                <a:lnTo>
                  <a:pt x="3094" y="2587"/>
                </a:lnTo>
                <a:lnTo>
                  <a:pt x="3092" y="2590"/>
                </a:lnTo>
                <a:lnTo>
                  <a:pt x="3037" y="2670"/>
                </a:lnTo>
                <a:lnTo>
                  <a:pt x="2978" y="2747"/>
                </a:lnTo>
                <a:lnTo>
                  <a:pt x="2914" y="2820"/>
                </a:lnTo>
                <a:lnTo>
                  <a:pt x="2846" y="2889"/>
                </a:lnTo>
                <a:lnTo>
                  <a:pt x="2774" y="2955"/>
                </a:lnTo>
                <a:lnTo>
                  <a:pt x="2699" y="3016"/>
                </a:lnTo>
                <a:lnTo>
                  <a:pt x="2621" y="3073"/>
                </a:lnTo>
                <a:lnTo>
                  <a:pt x="2538" y="3125"/>
                </a:lnTo>
                <a:lnTo>
                  <a:pt x="2453" y="3173"/>
                </a:lnTo>
                <a:lnTo>
                  <a:pt x="2365" y="3215"/>
                </a:lnTo>
                <a:lnTo>
                  <a:pt x="2273" y="3253"/>
                </a:lnTo>
                <a:lnTo>
                  <a:pt x="2181" y="3285"/>
                </a:lnTo>
                <a:lnTo>
                  <a:pt x="2084" y="3312"/>
                </a:lnTo>
                <a:lnTo>
                  <a:pt x="1986" y="3334"/>
                </a:lnTo>
                <a:lnTo>
                  <a:pt x="1886" y="3349"/>
                </a:lnTo>
                <a:lnTo>
                  <a:pt x="1784" y="3358"/>
                </a:lnTo>
                <a:lnTo>
                  <a:pt x="1679" y="3361"/>
                </a:lnTo>
                <a:lnTo>
                  <a:pt x="1578" y="3358"/>
                </a:lnTo>
                <a:lnTo>
                  <a:pt x="1478" y="3349"/>
                </a:lnTo>
                <a:lnTo>
                  <a:pt x="1378" y="3334"/>
                </a:lnTo>
                <a:lnTo>
                  <a:pt x="1281" y="3313"/>
                </a:lnTo>
                <a:lnTo>
                  <a:pt x="1187" y="3287"/>
                </a:lnTo>
                <a:lnTo>
                  <a:pt x="1094" y="3255"/>
                </a:lnTo>
                <a:lnTo>
                  <a:pt x="1004" y="3218"/>
                </a:lnTo>
                <a:lnTo>
                  <a:pt x="917" y="3177"/>
                </a:lnTo>
                <a:lnTo>
                  <a:pt x="832" y="3130"/>
                </a:lnTo>
                <a:lnTo>
                  <a:pt x="829" y="3129"/>
                </a:lnTo>
                <a:lnTo>
                  <a:pt x="827" y="3127"/>
                </a:lnTo>
                <a:lnTo>
                  <a:pt x="757" y="3083"/>
                </a:lnTo>
                <a:lnTo>
                  <a:pt x="688" y="3036"/>
                </a:lnTo>
                <a:lnTo>
                  <a:pt x="622" y="2985"/>
                </a:lnTo>
                <a:lnTo>
                  <a:pt x="560" y="2931"/>
                </a:lnTo>
                <a:lnTo>
                  <a:pt x="499" y="2874"/>
                </a:lnTo>
                <a:lnTo>
                  <a:pt x="496" y="2872"/>
                </a:lnTo>
                <a:lnTo>
                  <a:pt x="493" y="2868"/>
                </a:lnTo>
                <a:lnTo>
                  <a:pt x="430" y="2802"/>
                </a:lnTo>
                <a:lnTo>
                  <a:pt x="370" y="2732"/>
                </a:lnTo>
                <a:lnTo>
                  <a:pt x="314" y="2657"/>
                </a:lnTo>
                <a:lnTo>
                  <a:pt x="262" y="2581"/>
                </a:lnTo>
                <a:lnTo>
                  <a:pt x="215" y="2501"/>
                </a:lnTo>
                <a:lnTo>
                  <a:pt x="171" y="2419"/>
                </a:lnTo>
                <a:lnTo>
                  <a:pt x="132" y="2334"/>
                </a:lnTo>
                <a:lnTo>
                  <a:pt x="98" y="2247"/>
                </a:lnTo>
                <a:lnTo>
                  <a:pt x="69" y="2157"/>
                </a:lnTo>
                <a:lnTo>
                  <a:pt x="45" y="2065"/>
                </a:lnTo>
                <a:lnTo>
                  <a:pt x="25" y="1972"/>
                </a:lnTo>
                <a:lnTo>
                  <a:pt x="11" y="1876"/>
                </a:lnTo>
                <a:lnTo>
                  <a:pt x="3" y="1779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8"/>
                </a:lnTo>
                <a:lnTo>
                  <a:pt x="528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40606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88" name="Textfeld 187"/>
          <p:cNvSpPr txBox="1"/>
          <p:nvPr/>
        </p:nvSpPr>
        <p:spPr>
          <a:xfrm>
            <a:off x="3758728" y="4526358"/>
            <a:ext cx="1589731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/>
              <a:t>Use provided </a:t>
            </a:r>
            <a:r>
              <a:rPr lang="en-US" sz="1200" dirty="0" smtClean="0"/>
              <a:t>information</a:t>
            </a:r>
            <a:endParaRPr lang="en-US" sz="1200" dirty="0"/>
          </a:p>
        </p:txBody>
      </p:sp>
      <p:sp>
        <p:nvSpPr>
          <p:cNvPr id="189" name="Textfeld 188"/>
          <p:cNvSpPr txBox="1"/>
          <p:nvPr/>
        </p:nvSpPr>
        <p:spPr>
          <a:xfrm>
            <a:off x="3758728" y="4887763"/>
            <a:ext cx="64492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Telephone</a:t>
            </a:r>
          </a:p>
        </p:txBody>
      </p:sp>
      <p:sp>
        <p:nvSpPr>
          <p:cNvPr id="190" name="Textfeld 189"/>
          <p:cNvSpPr txBox="1"/>
          <p:nvPr/>
        </p:nvSpPr>
        <p:spPr>
          <a:xfrm>
            <a:off x="3758728" y="5249168"/>
            <a:ext cx="326180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Excel</a:t>
            </a:r>
          </a:p>
        </p:txBody>
      </p:sp>
      <p:cxnSp>
        <p:nvCxnSpPr>
          <p:cNvPr id="191" name="Gerade Verbindung 32"/>
          <p:cNvCxnSpPr/>
          <p:nvPr/>
        </p:nvCxnSpPr>
        <p:spPr>
          <a:xfrm>
            <a:off x="3287688" y="4474611"/>
            <a:ext cx="2150" cy="1332932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2" name="Freeform 231"/>
          <p:cNvSpPr>
            <a:spLocks noChangeAspect="1" noEditPoints="1"/>
          </p:cNvSpPr>
          <p:nvPr>
            <p:custDataLst>
              <p:tags r:id="rId10"/>
            </p:custDataLst>
          </p:nvPr>
        </p:nvSpPr>
        <p:spPr bwMode="auto">
          <a:xfrm>
            <a:off x="3454826" y="5591718"/>
            <a:ext cx="216000" cy="216000"/>
          </a:xfrm>
          <a:custGeom>
            <a:avLst/>
            <a:gdLst>
              <a:gd name="T0" fmla="*/ 2488 w 3361"/>
              <a:gd name="T1" fmla="*/ 2510 h 3361"/>
              <a:gd name="T2" fmla="*/ 2626 w 3361"/>
              <a:gd name="T3" fmla="*/ 2359 h 3361"/>
              <a:gd name="T4" fmla="*/ 1551 w 3361"/>
              <a:gd name="T5" fmla="*/ 1968 h 3361"/>
              <a:gd name="T6" fmla="*/ 1997 w 3361"/>
              <a:gd name="T7" fmla="*/ 1525 h 3361"/>
              <a:gd name="T8" fmla="*/ 1959 w 3361"/>
              <a:gd name="T9" fmla="*/ 1620 h 3361"/>
              <a:gd name="T10" fmla="*/ 1358 w 3361"/>
              <a:gd name="T11" fmla="*/ 1575 h 3361"/>
              <a:gd name="T12" fmla="*/ 1420 w 3361"/>
              <a:gd name="T13" fmla="*/ 1492 h 3361"/>
              <a:gd name="T14" fmla="*/ 2549 w 3361"/>
              <a:gd name="T15" fmla="*/ 1274 h 3361"/>
              <a:gd name="T16" fmla="*/ 835 w 3361"/>
              <a:gd name="T17" fmla="*/ 1263 h 3361"/>
              <a:gd name="T18" fmla="*/ 943 w 3361"/>
              <a:gd name="T19" fmla="*/ 1254 h 3361"/>
              <a:gd name="T20" fmla="*/ 2117 w 3361"/>
              <a:gd name="T21" fmla="*/ 1229 h 3361"/>
              <a:gd name="T22" fmla="*/ 2079 w 3361"/>
              <a:gd name="T23" fmla="*/ 1325 h 3361"/>
              <a:gd name="T24" fmla="*/ 1236 w 3361"/>
              <a:gd name="T25" fmla="*/ 1279 h 3361"/>
              <a:gd name="T26" fmla="*/ 1300 w 3361"/>
              <a:gd name="T27" fmla="*/ 1197 h 3361"/>
              <a:gd name="T28" fmla="*/ 2125 w 3361"/>
              <a:gd name="T29" fmla="*/ 950 h 3361"/>
              <a:gd name="T30" fmla="*/ 2061 w 3361"/>
              <a:gd name="T31" fmla="*/ 1033 h 3361"/>
              <a:gd name="T32" fmla="*/ 1234 w 3361"/>
              <a:gd name="T33" fmla="*/ 968 h 3361"/>
              <a:gd name="T34" fmla="*/ 1073 w 3361"/>
              <a:gd name="T35" fmla="*/ 738 h 3361"/>
              <a:gd name="T36" fmla="*/ 2367 w 3361"/>
              <a:gd name="T37" fmla="*/ 607 h 3361"/>
              <a:gd name="T38" fmla="*/ 2432 w 3361"/>
              <a:gd name="T39" fmla="*/ 1123 h 3361"/>
              <a:gd name="T40" fmla="*/ 2676 w 3361"/>
              <a:gd name="T41" fmla="*/ 1209 h 3361"/>
              <a:gd name="T42" fmla="*/ 2756 w 3361"/>
              <a:gd name="T43" fmla="*/ 2359 h 3361"/>
              <a:gd name="T44" fmla="*/ 2644 w 3361"/>
              <a:gd name="T45" fmla="*/ 2584 h 3361"/>
              <a:gd name="T46" fmla="*/ 850 w 3361"/>
              <a:gd name="T47" fmla="*/ 2640 h 3361"/>
              <a:gd name="T48" fmla="*/ 645 w 3361"/>
              <a:gd name="T49" fmla="*/ 2503 h 3361"/>
              <a:gd name="T50" fmla="*/ 614 w 3361"/>
              <a:gd name="T51" fmla="*/ 1334 h 3361"/>
              <a:gd name="T52" fmla="*/ 776 w 3361"/>
              <a:gd name="T53" fmla="*/ 1147 h 3361"/>
              <a:gd name="T54" fmla="*/ 951 w 3361"/>
              <a:gd name="T55" fmla="*/ 640 h 3361"/>
              <a:gd name="T56" fmla="*/ 1486 w 3361"/>
              <a:gd name="T57" fmla="*/ 143 h 3361"/>
              <a:gd name="T58" fmla="*/ 873 w 3361"/>
              <a:gd name="T59" fmla="*/ 358 h 3361"/>
              <a:gd name="T60" fmla="*/ 408 w 3361"/>
              <a:gd name="T61" fmla="*/ 795 h 3361"/>
              <a:gd name="T62" fmla="*/ 158 w 3361"/>
              <a:gd name="T63" fmla="*/ 1392 h 3361"/>
              <a:gd name="T64" fmla="*/ 178 w 3361"/>
              <a:gd name="T65" fmla="*/ 2061 h 3361"/>
              <a:gd name="T66" fmla="*/ 463 w 3361"/>
              <a:gd name="T67" fmla="*/ 2639 h 3361"/>
              <a:gd name="T68" fmla="*/ 952 w 3361"/>
              <a:gd name="T69" fmla="*/ 3048 h 3361"/>
              <a:gd name="T70" fmla="*/ 1583 w 3361"/>
              <a:gd name="T71" fmla="*/ 3228 h 3361"/>
              <a:gd name="T72" fmla="*/ 2240 w 3361"/>
              <a:gd name="T73" fmla="*/ 3126 h 3361"/>
              <a:gd name="T74" fmla="*/ 2775 w 3361"/>
              <a:gd name="T75" fmla="*/ 2775 h 3361"/>
              <a:gd name="T76" fmla="*/ 3126 w 3361"/>
              <a:gd name="T77" fmla="*/ 2240 h 3361"/>
              <a:gd name="T78" fmla="*/ 3228 w 3361"/>
              <a:gd name="T79" fmla="*/ 1583 h 3361"/>
              <a:gd name="T80" fmla="*/ 3048 w 3361"/>
              <a:gd name="T81" fmla="*/ 952 h 3361"/>
              <a:gd name="T82" fmla="*/ 2639 w 3361"/>
              <a:gd name="T83" fmla="*/ 463 h 3361"/>
              <a:gd name="T84" fmla="*/ 2061 w 3361"/>
              <a:gd name="T85" fmla="*/ 178 h 3361"/>
              <a:gd name="T86" fmla="*/ 1883 w 3361"/>
              <a:gd name="T87" fmla="*/ 12 h 3361"/>
              <a:gd name="T88" fmla="*/ 2528 w 3361"/>
              <a:gd name="T89" fmla="*/ 230 h 3361"/>
              <a:gd name="T90" fmla="*/ 3025 w 3361"/>
              <a:gd name="T91" fmla="*/ 673 h 3361"/>
              <a:gd name="T92" fmla="*/ 3313 w 3361"/>
              <a:gd name="T93" fmla="*/ 1282 h 3361"/>
              <a:gd name="T94" fmla="*/ 3334 w 3361"/>
              <a:gd name="T95" fmla="*/ 1982 h 3361"/>
              <a:gd name="T96" fmla="*/ 3080 w 3361"/>
              <a:gd name="T97" fmla="*/ 2609 h 3361"/>
              <a:gd name="T98" fmla="*/ 2609 w 3361"/>
              <a:gd name="T99" fmla="*/ 3080 h 3361"/>
              <a:gd name="T100" fmla="*/ 1982 w 3361"/>
              <a:gd name="T101" fmla="*/ 3334 h 3361"/>
              <a:gd name="T102" fmla="*/ 1282 w 3361"/>
              <a:gd name="T103" fmla="*/ 3313 h 3361"/>
              <a:gd name="T104" fmla="*/ 673 w 3361"/>
              <a:gd name="T105" fmla="*/ 3025 h 3361"/>
              <a:gd name="T106" fmla="*/ 230 w 3361"/>
              <a:gd name="T107" fmla="*/ 2528 h 3361"/>
              <a:gd name="T108" fmla="*/ 12 w 3361"/>
              <a:gd name="T109" fmla="*/ 1883 h 3361"/>
              <a:gd name="T110" fmla="*/ 74 w 3361"/>
              <a:gd name="T111" fmla="*/ 1188 h 3361"/>
              <a:gd name="T112" fmla="*/ 396 w 3361"/>
              <a:gd name="T113" fmla="*/ 599 h 3361"/>
              <a:gd name="T114" fmla="*/ 918 w 3361"/>
              <a:gd name="T115" fmla="*/ 183 h 3361"/>
              <a:gd name="T116" fmla="*/ 1579 w 3361"/>
              <a:gd name="T117" fmla="*/ 3 h 3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361" h="3361">
                <a:moveTo>
                  <a:pt x="1682" y="2043"/>
                </a:moveTo>
                <a:lnTo>
                  <a:pt x="874" y="2510"/>
                </a:lnTo>
                <a:lnTo>
                  <a:pt x="881" y="2511"/>
                </a:lnTo>
                <a:lnTo>
                  <a:pt x="888" y="2512"/>
                </a:lnTo>
                <a:lnTo>
                  <a:pt x="2473" y="2512"/>
                </a:lnTo>
                <a:lnTo>
                  <a:pt x="2481" y="2511"/>
                </a:lnTo>
                <a:lnTo>
                  <a:pt x="2488" y="2510"/>
                </a:lnTo>
                <a:lnTo>
                  <a:pt x="1682" y="2043"/>
                </a:lnTo>
                <a:close/>
                <a:moveTo>
                  <a:pt x="2626" y="1497"/>
                </a:moveTo>
                <a:lnTo>
                  <a:pt x="1812" y="1968"/>
                </a:lnTo>
                <a:lnTo>
                  <a:pt x="2608" y="2428"/>
                </a:lnTo>
                <a:lnTo>
                  <a:pt x="2618" y="2407"/>
                </a:lnTo>
                <a:lnTo>
                  <a:pt x="2624" y="2383"/>
                </a:lnTo>
                <a:lnTo>
                  <a:pt x="2626" y="2359"/>
                </a:lnTo>
                <a:lnTo>
                  <a:pt x="2626" y="1497"/>
                </a:lnTo>
                <a:close/>
                <a:moveTo>
                  <a:pt x="735" y="1496"/>
                </a:moveTo>
                <a:lnTo>
                  <a:pt x="735" y="2359"/>
                </a:lnTo>
                <a:lnTo>
                  <a:pt x="737" y="2383"/>
                </a:lnTo>
                <a:lnTo>
                  <a:pt x="743" y="2407"/>
                </a:lnTo>
                <a:lnTo>
                  <a:pt x="754" y="2429"/>
                </a:lnTo>
                <a:lnTo>
                  <a:pt x="1551" y="1968"/>
                </a:lnTo>
                <a:lnTo>
                  <a:pt x="735" y="1496"/>
                </a:lnTo>
                <a:close/>
                <a:moveTo>
                  <a:pt x="1420" y="1492"/>
                </a:moveTo>
                <a:lnTo>
                  <a:pt x="1941" y="1492"/>
                </a:lnTo>
                <a:lnTo>
                  <a:pt x="1959" y="1494"/>
                </a:lnTo>
                <a:lnTo>
                  <a:pt x="1974" y="1501"/>
                </a:lnTo>
                <a:lnTo>
                  <a:pt x="1987" y="1511"/>
                </a:lnTo>
                <a:lnTo>
                  <a:pt x="1997" y="1525"/>
                </a:lnTo>
                <a:lnTo>
                  <a:pt x="2004" y="1540"/>
                </a:lnTo>
                <a:lnTo>
                  <a:pt x="2006" y="1557"/>
                </a:lnTo>
                <a:lnTo>
                  <a:pt x="2004" y="1575"/>
                </a:lnTo>
                <a:lnTo>
                  <a:pt x="1997" y="1591"/>
                </a:lnTo>
                <a:lnTo>
                  <a:pt x="1987" y="1604"/>
                </a:lnTo>
                <a:lnTo>
                  <a:pt x="1974" y="1614"/>
                </a:lnTo>
                <a:lnTo>
                  <a:pt x="1959" y="1620"/>
                </a:lnTo>
                <a:lnTo>
                  <a:pt x="1941" y="1622"/>
                </a:lnTo>
                <a:lnTo>
                  <a:pt x="1420" y="1622"/>
                </a:lnTo>
                <a:lnTo>
                  <a:pt x="1402" y="1620"/>
                </a:lnTo>
                <a:lnTo>
                  <a:pt x="1387" y="1614"/>
                </a:lnTo>
                <a:lnTo>
                  <a:pt x="1374" y="1604"/>
                </a:lnTo>
                <a:lnTo>
                  <a:pt x="1364" y="1591"/>
                </a:lnTo>
                <a:lnTo>
                  <a:pt x="1358" y="1575"/>
                </a:lnTo>
                <a:lnTo>
                  <a:pt x="1355" y="1557"/>
                </a:lnTo>
                <a:lnTo>
                  <a:pt x="1358" y="1540"/>
                </a:lnTo>
                <a:lnTo>
                  <a:pt x="1364" y="1525"/>
                </a:lnTo>
                <a:lnTo>
                  <a:pt x="1374" y="1511"/>
                </a:lnTo>
                <a:lnTo>
                  <a:pt x="1387" y="1501"/>
                </a:lnTo>
                <a:lnTo>
                  <a:pt x="1402" y="1494"/>
                </a:lnTo>
                <a:lnTo>
                  <a:pt x="1420" y="1492"/>
                </a:lnTo>
                <a:close/>
                <a:moveTo>
                  <a:pt x="2432" y="1254"/>
                </a:moveTo>
                <a:lnTo>
                  <a:pt x="2432" y="1457"/>
                </a:lnTo>
                <a:lnTo>
                  <a:pt x="2615" y="1352"/>
                </a:lnTo>
                <a:lnTo>
                  <a:pt x="2603" y="1328"/>
                </a:lnTo>
                <a:lnTo>
                  <a:pt x="2589" y="1308"/>
                </a:lnTo>
                <a:lnTo>
                  <a:pt x="2571" y="1289"/>
                </a:lnTo>
                <a:lnTo>
                  <a:pt x="2549" y="1274"/>
                </a:lnTo>
                <a:lnTo>
                  <a:pt x="2526" y="1263"/>
                </a:lnTo>
                <a:lnTo>
                  <a:pt x="2500" y="1257"/>
                </a:lnTo>
                <a:lnTo>
                  <a:pt x="2473" y="1254"/>
                </a:lnTo>
                <a:lnTo>
                  <a:pt x="2432" y="1254"/>
                </a:lnTo>
                <a:close/>
                <a:moveTo>
                  <a:pt x="888" y="1254"/>
                </a:moveTo>
                <a:lnTo>
                  <a:pt x="861" y="1256"/>
                </a:lnTo>
                <a:lnTo>
                  <a:pt x="835" y="1263"/>
                </a:lnTo>
                <a:lnTo>
                  <a:pt x="812" y="1274"/>
                </a:lnTo>
                <a:lnTo>
                  <a:pt x="791" y="1289"/>
                </a:lnTo>
                <a:lnTo>
                  <a:pt x="773" y="1307"/>
                </a:lnTo>
                <a:lnTo>
                  <a:pt x="758" y="1328"/>
                </a:lnTo>
                <a:lnTo>
                  <a:pt x="747" y="1350"/>
                </a:lnTo>
                <a:lnTo>
                  <a:pt x="943" y="1465"/>
                </a:lnTo>
                <a:lnTo>
                  <a:pt x="943" y="1254"/>
                </a:lnTo>
                <a:lnTo>
                  <a:pt x="888" y="1254"/>
                </a:lnTo>
                <a:close/>
                <a:moveTo>
                  <a:pt x="1300" y="1197"/>
                </a:moveTo>
                <a:lnTo>
                  <a:pt x="2061" y="1197"/>
                </a:lnTo>
                <a:lnTo>
                  <a:pt x="2079" y="1199"/>
                </a:lnTo>
                <a:lnTo>
                  <a:pt x="2094" y="1206"/>
                </a:lnTo>
                <a:lnTo>
                  <a:pt x="2107" y="1216"/>
                </a:lnTo>
                <a:lnTo>
                  <a:pt x="2117" y="1229"/>
                </a:lnTo>
                <a:lnTo>
                  <a:pt x="2125" y="1245"/>
                </a:lnTo>
                <a:lnTo>
                  <a:pt x="2127" y="1262"/>
                </a:lnTo>
                <a:lnTo>
                  <a:pt x="2125" y="1279"/>
                </a:lnTo>
                <a:lnTo>
                  <a:pt x="2117" y="1296"/>
                </a:lnTo>
                <a:lnTo>
                  <a:pt x="2107" y="1309"/>
                </a:lnTo>
                <a:lnTo>
                  <a:pt x="2094" y="1319"/>
                </a:lnTo>
                <a:lnTo>
                  <a:pt x="2079" y="1325"/>
                </a:lnTo>
                <a:lnTo>
                  <a:pt x="2061" y="1328"/>
                </a:lnTo>
                <a:lnTo>
                  <a:pt x="1300" y="1328"/>
                </a:lnTo>
                <a:lnTo>
                  <a:pt x="1282" y="1325"/>
                </a:lnTo>
                <a:lnTo>
                  <a:pt x="1267" y="1319"/>
                </a:lnTo>
                <a:lnTo>
                  <a:pt x="1254" y="1309"/>
                </a:lnTo>
                <a:lnTo>
                  <a:pt x="1244" y="1296"/>
                </a:lnTo>
                <a:lnTo>
                  <a:pt x="1236" y="1279"/>
                </a:lnTo>
                <a:lnTo>
                  <a:pt x="1234" y="1262"/>
                </a:lnTo>
                <a:lnTo>
                  <a:pt x="1236" y="1245"/>
                </a:lnTo>
                <a:lnTo>
                  <a:pt x="1244" y="1229"/>
                </a:lnTo>
                <a:lnTo>
                  <a:pt x="1254" y="1216"/>
                </a:lnTo>
                <a:lnTo>
                  <a:pt x="1267" y="1206"/>
                </a:lnTo>
                <a:lnTo>
                  <a:pt x="1282" y="1199"/>
                </a:lnTo>
                <a:lnTo>
                  <a:pt x="1300" y="1197"/>
                </a:lnTo>
                <a:close/>
                <a:moveTo>
                  <a:pt x="1300" y="901"/>
                </a:moveTo>
                <a:lnTo>
                  <a:pt x="2061" y="901"/>
                </a:lnTo>
                <a:lnTo>
                  <a:pt x="2079" y="904"/>
                </a:lnTo>
                <a:lnTo>
                  <a:pt x="2094" y="911"/>
                </a:lnTo>
                <a:lnTo>
                  <a:pt x="2107" y="921"/>
                </a:lnTo>
                <a:lnTo>
                  <a:pt x="2117" y="934"/>
                </a:lnTo>
                <a:lnTo>
                  <a:pt x="2125" y="950"/>
                </a:lnTo>
                <a:lnTo>
                  <a:pt x="2127" y="968"/>
                </a:lnTo>
                <a:lnTo>
                  <a:pt x="2125" y="985"/>
                </a:lnTo>
                <a:lnTo>
                  <a:pt x="2117" y="1000"/>
                </a:lnTo>
                <a:lnTo>
                  <a:pt x="2107" y="1013"/>
                </a:lnTo>
                <a:lnTo>
                  <a:pt x="2094" y="1024"/>
                </a:lnTo>
                <a:lnTo>
                  <a:pt x="2079" y="1031"/>
                </a:lnTo>
                <a:lnTo>
                  <a:pt x="2061" y="1033"/>
                </a:lnTo>
                <a:lnTo>
                  <a:pt x="1300" y="1033"/>
                </a:lnTo>
                <a:lnTo>
                  <a:pt x="1282" y="1031"/>
                </a:lnTo>
                <a:lnTo>
                  <a:pt x="1267" y="1024"/>
                </a:lnTo>
                <a:lnTo>
                  <a:pt x="1254" y="1013"/>
                </a:lnTo>
                <a:lnTo>
                  <a:pt x="1244" y="1000"/>
                </a:lnTo>
                <a:lnTo>
                  <a:pt x="1236" y="985"/>
                </a:lnTo>
                <a:lnTo>
                  <a:pt x="1234" y="968"/>
                </a:lnTo>
                <a:lnTo>
                  <a:pt x="1236" y="950"/>
                </a:lnTo>
                <a:lnTo>
                  <a:pt x="1244" y="934"/>
                </a:lnTo>
                <a:lnTo>
                  <a:pt x="1254" y="921"/>
                </a:lnTo>
                <a:lnTo>
                  <a:pt x="1267" y="911"/>
                </a:lnTo>
                <a:lnTo>
                  <a:pt x="1282" y="904"/>
                </a:lnTo>
                <a:lnTo>
                  <a:pt x="1300" y="901"/>
                </a:lnTo>
                <a:close/>
                <a:moveTo>
                  <a:pt x="1073" y="738"/>
                </a:moveTo>
                <a:lnTo>
                  <a:pt x="1073" y="1540"/>
                </a:lnTo>
                <a:lnTo>
                  <a:pt x="1682" y="1891"/>
                </a:lnTo>
                <a:lnTo>
                  <a:pt x="2302" y="1533"/>
                </a:lnTo>
                <a:lnTo>
                  <a:pt x="2302" y="738"/>
                </a:lnTo>
                <a:lnTo>
                  <a:pt x="1073" y="738"/>
                </a:lnTo>
                <a:close/>
                <a:moveTo>
                  <a:pt x="1008" y="607"/>
                </a:moveTo>
                <a:lnTo>
                  <a:pt x="2367" y="607"/>
                </a:lnTo>
                <a:lnTo>
                  <a:pt x="2384" y="610"/>
                </a:lnTo>
                <a:lnTo>
                  <a:pt x="2401" y="616"/>
                </a:lnTo>
                <a:lnTo>
                  <a:pt x="2414" y="626"/>
                </a:lnTo>
                <a:lnTo>
                  <a:pt x="2424" y="640"/>
                </a:lnTo>
                <a:lnTo>
                  <a:pt x="2430" y="656"/>
                </a:lnTo>
                <a:lnTo>
                  <a:pt x="2432" y="673"/>
                </a:lnTo>
                <a:lnTo>
                  <a:pt x="2432" y="1123"/>
                </a:lnTo>
                <a:lnTo>
                  <a:pt x="2473" y="1123"/>
                </a:lnTo>
                <a:lnTo>
                  <a:pt x="2513" y="1125"/>
                </a:lnTo>
                <a:lnTo>
                  <a:pt x="2550" y="1134"/>
                </a:lnTo>
                <a:lnTo>
                  <a:pt x="2586" y="1147"/>
                </a:lnTo>
                <a:lnTo>
                  <a:pt x="2619" y="1164"/>
                </a:lnTo>
                <a:lnTo>
                  <a:pt x="2648" y="1184"/>
                </a:lnTo>
                <a:lnTo>
                  <a:pt x="2676" y="1209"/>
                </a:lnTo>
                <a:lnTo>
                  <a:pt x="2699" y="1237"/>
                </a:lnTo>
                <a:lnTo>
                  <a:pt x="2719" y="1267"/>
                </a:lnTo>
                <a:lnTo>
                  <a:pt x="2735" y="1300"/>
                </a:lnTo>
                <a:lnTo>
                  <a:pt x="2747" y="1334"/>
                </a:lnTo>
                <a:lnTo>
                  <a:pt x="2754" y="1370"/>
                </a:lnTo>
                <a:lnTo>
                  <a:pt x="2756" y="1407"/>
                </a:lnTo>
                <a:lnTo>
                  <a:pt x="2756" y="2359"/>
                </a:lnTo>
                <a:lnTo>
                  <a:pt x="2754" y="2398"/>
                </a:lnTo>
                <a:lnTo>
                  <a:pt x="2746" y="2435"/>
                </a:lnTo>
                <a:lnTo>
                  <a:pt x="2734" y="2471"/>
                </a:lnTo>
                <a:lnTo>
                  <a:pt x="2716" y="2503"/>
                </a:lnTo>
                <a:lnTo>
                  <a:pt x="2696" y="2534"/>
                </a:lnTo>
                <a:lnTo>
                  <a:pt x="2672" y="2560"/>
                </a:lnTo>
                <a:lnTo>
                  <a:pt x="2644" y="2584"/>
                </a:lnTo>
                <a:lnTo>
                  <a:pt x="2613" y="2604"/>
                </a:lnTo>
                <a:lnTo>
                  <a:pt x="2581" y="2621"/>
                </a:lnTo>
                <a:lnTo>
                  <a:pt x="2546" y="2633"/>
                </a:lnTo>
                <a:lnTo>
                  <a:pt x="2511" y="2640"/>
                </a:lnTo>
                <a:lnTo>
                  <a:pt x="2473" y="2642"/>
                </a:lnTo>
                <a:lnTo>
                  <a:pt x="888" y="2642"/>
                </a:lnTo>
                <a:lnTo>
                  <a:pt x="850" y="2640"/>
                </a:lnTo>
                <a:lnTo>
                  <a:pt x="815" y="2633"/>
                </a:lnTo>
                <a:lnTo>
                  <a:pt x="780" y="2621"/>
                </a:lnTo>
                <a:lnTo>
                  <a:pt x="748" y="2604"/>
                </a:lnTo>
                <a:lnTo>
                  <a:pt x="717" y="2584"/>
                </a:lnTo>
                <a:lnTo>
                  <a:pt x="690" y="2560"/>
                </a:lnTo>
                <a:lnTo>
                  <a:pt x="665" y="2533"/>
                </a:lnTo>
                <a:lnTo>
                  <a:pt x="645" y="2503"/>
                </a:lnTo>
                <a:lnTo>
                  <a:pt x="627" y="2471"/>
                </a:lnTo>
                <a:lnTo>
                  <a:pt x="615" y="2435"/>
                </a:lnTo>
                <a:lnTo>
                  <a:pt x="607" y="2398"/>
                </a:lnTo>
                <a:lnTo>
                  <a:pt x="605" y="2359"/>
                </a:lnTo>
                <a:lnTo>
                  <a:pt x="605" y="1407"/>
                </a:lnTo>
                <a:lnTo>
                  <a:pt x="607" y="1370"/>
                </a:lnTo>
                <a:lnTo>
                  <a:pt x="614" y="1334"/>
                </a:lnTo>
                <a:lnTo>
                  <a:pt x="626" y="1300"/>
                </a:lnTo>
                <a:lnTo>
                  <a:pt x="643" y="1267"/>
                </a:lnTo>
                <a:lnTo>
                  <a:pt x="662" y="1236"/>
                </a:lnTo>
                <a:lnTo>
                  <a:pt x="686" y="1209"/>
                </a:lnTo>
                <a:lnTo>
                  <a:pt x="713" y="1184"/>
                </a:lnTo>
                <a:lnTo>
                  <a:pt x="743" y="1163"/>
                </a:lnTo>
                <a:lnTo>
                  <a:pt x="776" y="1147"/>
                </a:lnTo>
                <a:lnTo>
                  <a:pt x="811" y="1134"/>
                </a:lnTo>
                <a:lnTo>
                  <a:pt x="848" y="1125"/>
                </a:lnTo>
                <a:lnTo>
                  <a:pt x="888" y="1123"/>
                </a:lnTo>
                <a:lnTo>
                  <a:pt x="943" y="1123"/>
                </a:lnTo>
                <a:lnTo>
                  <a:pt x="943" y="673"/>
                </a:lnTo>
                <a:lnTo>
                  <a:pt x="945" y="656"/>
                </a:lnTo>
                <a:lnTo>
                  <a:pt x="951" y="640"/>
                </a:lnTo>
                <a:lnTo>
                  <a:pt x="961" y="626"/>
                </a:lnTo>
                <a:lnTo>
                  <a:pt x="975" y="616"/>
                </a:lnTo>
                <a:lnTo>
                  <a:pt x="991" y="610"/>
                </a:lnTo>
                <a:lnTo>
                  <a:pt x="1008" y="607"/>
                </a:lnTo>
                <a:close/>
                <a:moveTo>
                  <a:pt x="1679" y="130"/>
                </a:moveTo>
                <a:lnTo>
                  <a:pt x="1583" y="133"/>
                </a:lnTo>
                <a:lnTo>
                  <a:pt x="1486" y="143"/>
                </a:lnTo>
                <a:lnTo>
                  <a:pt x="1392" y="158"/>
                </a:lnTo>
                <a:lnTo>
                  <a:pt x="1300" y="178"/>
                </a:lnTo>
                <a:lnTo>
                  <a:pt x="1209" y="204"/>
                </a:lnTo>
                <a:lnTo>
                  <a:pt x="1121" y="235"/>
                </a:lnTo>
                <a:lnTo>
                  <a:pt x="1036" y="272"/>
                </a:lnTo>
                <a:lnTo>
                  <a:pt x="952" y="313"/>
                </a:lnTo>
                <a:lnTo>
                  <a:pt x="873" y="358"/>
                </a:lnTo>
                <a:lnTo>
                  <a:pt x="795" y="408"/>
                </a:lnTo>
                <a:lnTo>
                  <a:pt x="722" y="463"/>
                </a:lnTo>
                <a:lnTo>
                  <a:pt x="652" y="522"/>
                </a:lnTo>
                <a:lnTo>
                  <a:pt x="586" y="586"/>
                </a:lnTo>
                <a:lnTo>
                  <a:pt x="522" y="652"/>
                </a:lnTo>
                <a:lnTo>
                  <a:pt x="463" y="722"/>
                </a:lnTo>
                <a:lnTo>
                  <a:pt x="408" y="795"/>
                </a:lnTo>
                <a:lnTo>
                  <a:pt x="359" y="873"/>
                </a:lnTo>
                <a:lnTo>
                  <a:pt x="313" y="952"/>
                </a:lnTo>
                <a:lnTo>
                  <a:pt x="272" y="1036"/>
                </a:lnTo>
                <a:lnTo>
                  <a:pt x="235" y="1121"/>
                </a:lnTo>
                <a:lnTo>
                  <a:pt x="204" y="1209"/>
                </a:lnTo>
                <a:lnTo>
                  <a:pt x="178" y="1300"/>
                </a:lnTo>
                <a:lnTo>
                  <a:pt x="158" y="1392"/>
                </a:lnTo>
                <a:lnTo>
                  <a:pt x="143" y="1486"/>
                </a:lnTo>
                <a:lnTo>
                  <a:pt x="133" y="1583"/>
                </a:lnTo>
                <a:lnTo>
                  <a:pt x="130" y="1680"/>
                </a:lnTo>
                <a:lnTo>
                  <a:pt x="133" y="1778"/>
                </a:lnTo>
                <a:lnTo>
                  <a:pt x="143" y="1875"/>
                </a:lnTo>
                <a:lnTo>
                  <a:pt x="158" y="1969"/>
                </a:lnTo>
                <a:lnTo>
                  <a:pt x="178" y="2061"/>
                </a:lnTo>
                <a:lnTo>
                  <a:pt x="204" y="2152"/>
                </a:lnTo>
                <a:lnTo>
                  <a:pt x="235" y="2240"/>
                </a:lnTo>
                <a:lnTo>
                  <a:pt x="272" y="2325"/>
                </a:lnTo>
                <a:lnTo>
                  <a:pt x="313" y="2409"/>
                </a:lnTo>
                <a:lnTo>
                  <a:pt x="359" y="2488"/>
                </a:lnTo>
                <a:lnTo>
                  <a:pt x="408" y="2566"/>
                </a:lnTo>
                <a:lnTo>
                  <a:pt x="463" y="2639"/>
                </a:lnTo>
                <a:lnTo>
                  <a:pt x="522" y="2709"/>
                </a:lnTo>
                <a:lnTo>
                  <a:pt x="586" y="2775"/>
                </a:lnTo>
                <a:lnTo>
                  <a:pt x="652" y="2839"/>
                </a:lnTo>
                <a:lnTo>
                  <a:pt x="722" y="2898"/>
                </a:lnTo>
                <a:lnTo>
                  <a:pt x="795" y="2953"/>
                </a:lnTo>
                <a:lnTo>
                  <a:pt x="873" y="3002"/>
                </a:lnTo>
                <a:lnTo>
                  <a:pt x="952" y="3048"/>
                </a:lnTo>
                <a:lnTo>
                  <a:pt x="1036" y="3089"/>
                </a:lnTo>
                <a:lnTo>
                  <a:pt x="1121" y="3126"/>
                </a:lnTo>
                <a:lnTo>
                  <a:pt x="1209" y="3157"/>
                </a:lnTo>
                <a:lnTo>
                  <a:pt x="1300" y="3183"/>
                </a:lnTo>
                <a:lnTo>
                  <a:pt x="1392" y="3203"/>
                </a:lnTo>
                <a:lnTo>
                  <a:pt x="1486" y="3218"/>
                </a:lnTo>
                <a:lnTo>
                  <a:pt x="1583" y="3228"/>
                </a:lnTo>
                <a:lnTo>
                  <a:pt x="1679" y="3231"/>
                </a:lnTo>
                <a:lnTo>
                  <a:pt x="1778" y="3228"/>
                </a:lnTo>
                <a:lnTo>
                  <a:pt x="1875" y="3218"/>
                </a:lnTo>
                <a:lnTo>
                  <a:pt x="1969" y="3203"/>
                </a:lnTo>
                <a:lnTo>
                  <a:pt x="2061" y="3183"/>
                </a:lnTo>
                <a:lnTo>
                  <a:pt x="2152" y="3157"/>
                </a:lnTo>
                <a:lnTo>
                  <a:pt x="2240" y="3126"/>
                </a:lnTo>
                <a:lnTo>
                  <a:pt x="2325" y="3089"/>
                </a:lnTo>
                <a:lnTo>
                  <a:pt x="2409" y="3048"/>
                </a:lnTo>
                <a:lnTo>
                  <a:pt x="2488" y="3002"/>
                </a:lnTo>
                <a:lnTo>
                  <a:pt x="2566" y="2953"/>
                </a:lnTo>
                <a:lnTo>
                  <a:pt x="2639" y="2898"/>
                </a:lnTo>
                <a:lnTo>
                  <a:pt x="2709" y="2839"/>
                </a:lnTo>
                <a:lnTo>
                  <a:pt x="2775" y="2775"/>
                </a:lnTo>
                <a:lnTo>
                  <a:pt x="2839" y="2709"/>
                </a:lnTo>
                <a:lnTo>
                  <a:pt x="2898" y="2639"/>
                </a:lnTo>
                <a:lnTo>
                  <a:pt x="2953" y="2566"/>
                </a:lnTo>
                <a:lnTo>
                  <a:pt x="3003" y="2488"/>
                </a:lnTo>
                <a:lnTo>
                  <a:pt x="3048" y="2409"/>
                </a:lnTo>
                <a:lnTo>
                  <a:pt x="3089" y="2325"/>
                </a:lnTo>
                <a:lnTo>
                  <a:pt x="3126" y="2240"/>
                </a:lnTo>
                <a:lnTo>
                  <a:pt x="3157" y="2152"/>
                </a:lnTo>
                <a:lnTo>
                  <a:pt x="3183" y="2061"/>
                </a:lnTo>
                <a:lnTo>
                  <a:pt x="3203" y="1969"/>
                </a:lnTo>
                <a:lnTo>
                  <a:pt x="3218" y="1875"/>
                </a:lnTo>
                <a:lnTo>
                  <a:pt x="3228" y="1778"/>
                </a:lnTo>
                <a:lnTo>
                  <a:pt x="3231" y="1680"/>
                </a:lnTo>
                <a:lnTo>
                  <a:pt x="3228" y="1583"/>
                </a:lnTo>
                <a:lnTo>
                  <a:pt x="3218" y="1486"/>
                </a:lnTo>
                <a:lnTo>
                  <a:pt x="3203" y="1392"/>
                </a:lnTo>
                <a:lnTo>
                  <a:pt x="3183" y="1300"/>
                </a:lnTo>
                <a:lnTo>
                  <a:pt x="3157" y="1209"/>
                </a:lnTo>
                <a:lnTo>
                  <a:pt x="3126" y="1121"/>
                </a:lnTo>
                <a:lnTo>
                  <a:pt x="3089" y="1036"/>
                </a:lnTo>
                <a:lnTo>
                  <a:pt x="3048" y="952"/>
                </a:lnTo>
                <a:lnTo>
                  <a:pt x="3003" y="873"/>
                </a:lnTo>
                <a:lnTo>
                  <a:pt x="2953" y="795"/>
                </a:lnTo>
                <a:lnTo>
                  <a:pt x="2898" y="722"/>
                </a:lnTo>
                <a:lnTo>
                  <a:pt x="2839" y="652"/>
                </a:lnTo>
                <a:lnTo>
                  <a:pt x="2775" y="586"/>
                </a:lnTo>
                <a:lnTo>
                  <a:pt x="2709" y="522"/>
                </a:lnTo>
                <a:lnTo>
                  <a:pt x="2639" y="463"/>
                </a:lnTo>
                <a:lnTo>
                  <a:pt x="2566" y="408"/>
                </a:lnTo>
                <a:lnTo>
                  <a:pt x="2488" y="358"/>
                </a:lnTo>
                <a:lnTo>
                  <a:pt x="2409" y="313"/>
                </a:lnTo>
                <a:lnTo>
                  <a:pt x="2325" y="272"/>
                </a:lnTo>
                <a:lnTo>
                  <a:pt x="2240" y="235"/>
                </a:lnTo>
                <a:lnTo>
                  <a:pt x="2152" y="204"/>
                </a:lnTo>
                <a:lnTo>
                  <a:pt x="2061" y="178"/>
                </a:lnTo>
                <a:lnTo>
                  <a:pt x="1969" y="158"/>
                </a:lnTo>
                <a:lnTo>
                  <a:pt x="1875" y="143"/>
                </a:lnTo>
                <a:lnTo>
                  <a:pt x="1778" y="133"/>
                </a:lnTo>
                <a:lnTo>
                  <a:pt x="1679" y="130"/>
                </a:lnTo>
                <a:close/>
                <a:moveTo>
                  <a:pt x="1679" y="0"/>
                </a:moveTo>
                <a:lnTo>
                  <a:pt x="1782" y="3"/>
                </a:lnTo>
                <a:lnTo>
                  <a:pt x="1883" y="12"/>
                </a:lnTo>
                <a:lnTo>
                  <a:pt x="1982" y="27"/>
                </a:lnTo>
                <a:lnTo>
                  <a:pt x="2079" y="48"/>
                </a:lnTo>
                <a:lnTo>
                  <a:pt x="2173" y="74"/>
                </a:lnTo>
                <a:lnTo>
                  <a:pt x="2266" y="105"/>
                </a:lnTo>
                <a:lnTo>
                  <a:pt x="2356" y="142"/>
                </a:lnTo>
                <a:lnTo>
                  <a:pt x="2443" y="183"/>
                </a:lnTo>
                <a:lnTo>
                  <a:pt x="2528" y="230"/>
                </a:lnTo>
                <a:lnTo>
                  <a:pt x="2609" y="281"/>
                </a:lnTo>
                <a:lnTo>
                  <a:pt x="2688" y="336"/>
                </a:lnTo>
                <a:lnTo>
                  <a:pt x="2762" y="396"/>
                </a:lnTo>
                <a:lnTo>
                  <a:pt x="2834" y="459"/>
                </a:lnTo>
                <a:lnTo>
                  <a:pt x="2902" y="527"/>
                </a:lnTo>
                <a:lnTo>
                  <a:pt x="2965" y="599"/>
                </a:lnTo>
                <a:lnTo>
                  <a:pt x="3025" y="673"/>
                </a:lnTo>
                <a:lnTo>
                  <a:pt x="3080" y="752"/>
                </a:lnTo>
                <a:lnTo>
                  <a:pt x="3131" y="833"/>
                </a:lnTo>
                <a:lnTo>
                  <a:pt x="3178" y="918"/>
                </a:lnTo>
                <a:lnTo>
                  <a:pt x="3219" y="1005"/>
                </a:lnTo>
                <a:lnTo>
                  <a:pt x="3256" y="1095"/>
                </a:lnTo>
                <a:lnTo>
                  <a:pt x="3287" y="1188"/>
                </a:lnTo>
                <a:lnTo>
                  <a:pt x="3313" y="1282"/>
                </a:lnTo>
                <a:lnTo>
                  <a:pt x="3334" y="1379"/>
                </a:lnTo>
                <a:lnTo>
                  <a:pt x="3349" y="1478"/>
                </a:lnTo>
                <a:lnTo>
                  <a:pt x="3358" y="1579"/>
                </a:lnTo>
                <a:lnTo>
                  <a:pt x="3361" y="1680"/>
                </a:lnTo>
                <a:lnTo>
                  <a:pt x="3358" y="1782"/>
                </a:lnTo>
                <a:lnTo>
                  <a:pt x="3349" y="1883"/>
                </a:lnTo>
                <a:lnTo>
                  <a:pt x="3334" y="1982"/>
                </a:lnTo>
                <a:lnTo>
                  <a:pt x="3313" y="2079"/>
                </a:lnTo>
                <a:lnTo>
                  <a:pt x="3287" y="2173"/>
                </a:lnTo>
                <a:lnTo>
                  <a:pt x="3256" y="2266"/>
                </a:lnTo>
                <a:lnTo>
                  <a:pt x="3219" y="2356"/>
                </a:lnTo>
                <a:lnTo>
                  <a:pt x="3178" y="2443"/>
                </a:lnTo>
                <a:lnTo>
                  <a:pt x="3131" y="2528"/>
                </a:lnTo>
                <a:lnTo>
                  <a:pt x="3080" y="2609"/>
                </a:lnTo>
                <a:lnTo>
                  <a:pt x="3025" y="2688"/>
                </a:lnTo>
                <a:lnTo>
                  <a:pt x="2965" y="2762"/>
                </a:lnTo>
                <a:lnTo>
                  <a:pt x="2902" y="2834"/>
                </a:lnTo>
                <a:lnTo>
                  <a:pt x="2834" y="2902"/>
                </a:lnTo>
                <a:lnTo>
                  <a:pt x="2762" y="2965"/>
                </a:lnTo>
                <a:lnTo>
                  <a:pt x="2688" y="3025"/>
                </a:lnTo>
                <a:lnTo>
                  <a:pt x="2609" y="3080"/>
                </a:lnTo>
                <a:lnTo>
                  <a:pt x="2528" y="3131"/>
                </a:lnTo>
                <a:lnTo>
                  <a:pt x="2443" y="3178"/>
                </a:lnTo>
                <a:lnTo>
                  <a:pt x="2356" y="3219"/>
                </a:lnTo>
                <a:lnTo>
                  <a:pt x="2266" y="3256"/>
                </a:lnTo>
                <a:lnTo>
                  <a:pt x="2173" y="3287"/>
                </a:lnTo>
                <a:lnTo>
                  <a:pt x="2079" y="3313"/>
                </a:lnTo>
                <a:lnTo>
                  <a:pt x="1982" y="3334"/>
                </a:lnTo>
                <a:lnTo>
                  <a:pt x="1883" y="3349"/>
                </a:lnTo>
                <a:lnTo>
                  <a:pt x="1782" y="3358"/>
                </a:lnTo>
                <a:lnTo>
                  <a:pt x="1679" y="3361"/>
                </a:lnTo>
                <a:lnTo>
                  <a:pt x="1579" y="3358"/>
                </a:lnTo>
                <a:lnTo>
                  <a:pt x="1478" y="3349"/>
                </a:lnTo>
                <a:lnTo>
                  <a:pt x="1379" y="3334"/>
                </a:lnTo>
                <a:lnTo>
                  <a:pt x="1282" y="3313"/>
                </a:lnTo>
                <a:lnTo>
                  <a:pt x="1188" y="3287"/>
                </a:lnTo>
                <a:lnTo>
                  <a:pt x="1095" y="3256"/>
                </a:lnTo>
                <a:lnTo>
                  <a:pt x="1005" y="3219"/>
                </a:lnTo>
                <a:lnTo>
                  <a:pt x="918" y="3178"/>
                </a:lnTo>
                <a:lnTo>
                  <a:pt x="833" y="3131"/>
                </a:lnTo>
                <a:lnTo>
                  <a:pt x="752" y="3080"/>
                </a:lnTo>
                <a:lnTo>
                  <a:pt x="673" y="3025"/>
                </a:lnTo>
                <a:lnTo>
                  <a:pt x="599" y="2965"/>
                </a:lnTo>
                <a:lnTo>
                  <a:pt x="527" y="2902"/>
                </a:lnTo>
                <a:lnTo>
                  <a:pt x="459" y="2834"/>
                </a:lnTo>
                <a:lnTo>
                  <a:pt x="396" y="2762"/>
                </a:lnTo>
                <a:lnTo>
                  <a:pt x="336" y="2688"/>
                </a:lnTo>
                <a:lnTo>
                  <a:pt x="281" y="2609"/>
                </a:lnTo>
                <a:lnTo>
                  <a:pt x="230" y="2528"/>
                </a:lnTo>
                <a:lnTo>
                  <a:pt x="183" y="2443"/>
                </a:lnTo>
                <a:lnTo>
                  <a:pt x="142" y="2356"/>
                </a:lnTo>
                <a:lnTo>
                  <a:pt x="105" y="2266"/>
                </a:lnTo>
                <a:lnTo>
                  <a:pt x="74" y="2173"/>
                </a:lnTo>
                <a:lnTo>
                  <a:pt x="48" y="2079"/>
                </a:lnTo>
                <a:lnTo>
                  <a:pt x="27" y="1982"/>
                </a:lnTo>
                <a:lnTo>
                  <a:pt x="12" y="1883"/>
                </a:lnTo>
                <a:lnTo>
                  <a:pt x="3" y="1782"/>
                </a:lnTo>
                <a:lnTo>
                  <a:pt x="0" y="1680"/>
                </a:lnTo>
                <a:lnTo>
                  <a:pt x="3" y="1579"/>
                </a:lnTo>
                <a:lnTo>
                  <a:pt x="12" y="1478"/>
                </a:lnTo>
                <a:lnTo>
                  <a:pt x="27" y="1379"/>
                </a:lnTo>
                <a:lnTo>
                  <a:pt x="48" y="1282"/>
                </a:lnTo>
                <a:lnTo>
                  <a:pt x="74" y="1188"/>
                </a:lnTo>
                <a:lnTo>
                  <a:pt x="105" y="1095"/>
                </a:lnTo>
                <a:lnTo>
                  <a:pt x="142" y="1005"/>
                </a:lnTo>
                <a:lnTo>
                  <a:pt x="183" y="918"/>
                </a:lnTo>
                <a:lnTo>
                  <a:pt x="230" y="833"/>
                </a:lnTo>
                <a:lnTo>
                  <a:pt x="281" y="752"/>
                </a:lnTo>
                <a:lnTo>
                  <a:pt x="336" y="673"/>
                </a:lnTo>
                <a:lnTo>
                  <a:pt x="396" y="599"/>
                </a:lnTo>
                <a:lnTo>
                  <a:pt x="459" y="527"/>
                </a:lnTo>
                <a:lnTo>
                  <a:pt x="527" y="459"/>
                </a:lnTo>
                <a:lnTo>
                  <a:pt x="599" y="396"/>
                </a:lnTo>
                <a:lnTo>
                  <a:pt x="673" y="336"/>
                </a:lnTo>
                <a:lnTo>
                  <a:pt x="752" y="281"/>
                </a:lnTo>
                <a:lnTo>
                  <a:pt x="833" y="230"/>
                </a:lnTo>
                <a:lnTo>
                  <a:pt x="918" y="183"/>
                </a:lnTo>
                <a:lnTo>
                  <a:pt x="1005" y="142"/>
                </a:lnTo>
                <a:lnTo>
                  <a:pt x="1095" y="105"/>
                </a:lnTo>
                <a:lnTo>
                  <a:pt x="1188" y="74"/>
                </a:lnTo>
                <a:lnTo>
                  <a:pt x="1282" y="48"/>
                </a:lnTo>
                <a:lnTo>
                  <a:pt x="1379" y="27"/>
                </a:lnTo>
                <a:lnTo>
                  <a:pt x="1478" y="12"/>
                </a:lnTo>
                <a:lnTo>
                  <a:pt x="1579" y="3"/>
                </a:lnTo>
                <a:lnTo>
                  <a:pt x="1679" y="0"/>
                </a:lnTo>
                <a:close/>
              </a:path>
            </a:pathLst>
          </a:custGeom>
          <a:solidFill>
            <a:srgbClr val="00A0F5"/>
          </a:solidFill>
          <a:ln w="0">
            <a:noFill/>
            <a:prstDash val="solid"/>
            <a:round/>
            <a:headEnd/>
            <a:tailEnd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600" dirty="0"/>
          </a:p>
        </p:txBody>
      </p:sp>
      <p:sp>
        <p:nvSpPr>
          <p:cNvPr id="193" name="Textfeld 192"/>
          <p:cNvSpPr txBox="1"/>
          <p:nvPr/>
        </p:nvSpPr>
        <p:spPr>
          <a:xfrm>
            <a:off x="3758728" y="5610573"/>
            <a:ext cx="399148" cy="1661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1200" dirty="0" smtClean="0"/>
              <a:t>E-mail</a:t>
            </a:r>
          </a:p>
        </p:txBody>
      </p:sp>
      <p:sp>
        <p:nvSpPr>
          <p:cNvPr id="194" name="Oval 4"/>
          <p:cNvSpPr>
            <a:spLocks noChangeAspect="1" noChangeArrowheads="1"/>
          </p:cNvSpPr>
          <p:nvPr/>
        </p:nvSpPr>
        <p:spPr bwMode="auto">
          <a:xfrm>
            <a:off x="334962" y="5591543"/>
            <a:ext cx="216000" cy="2160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/>
        </p:spPr>
        <p:txBody>
          <a:bodyPr wrap="none" lIns="54000" tIns="36000" rIns="54000" bIns="36000" anchor="ctr" anchorCtr="1">
            <a:noAutofit/>
          </a:bodyPr>
          <a:lstStyle/>
          <a:p>
            <a:pPr marL="182563" indent="-182563" algn="ctr" eaLnBrk="0" hangingPunct="0">
              <a:buClr>
                <a:srgbClr val="0F337D"/>
              </a:buClr>
              <a:buSzPct val="65000"/>
              <a:buFont typeface="Wingdings" pitchFamily="2" charset="2"/>
              <a:buNone/>
            </a:pPr>
            <a:r>
              <a:rPr lang="en-US" sz="1100" dirty="0">
                <a:solidFill>
                  <a:srgbClr val="FFFFFF"/>
                </a:solidFill>
              </a:rPr>
              <a:t>4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938621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6&quot;&gt;&lt;elem m_fUsage=&quot;3.88532790000000005648E+00&quot;&gt;&lt;m_msothmcolidx val=&quot;0&quot;/&gt;&lt;m_rgb r=&quot;00&quot; g=&quot;78&quot; b=&quot;DC&quot;/&gt;&lt;m_nBrightness tagver0=&quot;26206&quot; tagname0=&quot;m_nBrightnessUNRECOGNIZED&quot; val=&quot;0&quot;/&gt;&lt;/elem&gt;&lt;elem m_fUsage=&quot;2.74232835925096374297E+00&quot;&gt;&lt;m_msothmcolidx val=&quot;0&quot;/&gt;&lt;m_rgb r=&quot;4B&quot; g=&quot;55&quot; b=&quot;64&quot;/&gt;&lt;m_nBrightness tagver0=&quot;26206&quot; tagname0=&quot;m_nBrightnessUNRECOGNIZED&quot; val=&quot;0&quot;/&gt;&lt;/elem&gt;&lt;elem m_fUsage=&quot;1.00000000000000000000E+00&quot;&gt;&lt;m_msothmcolidx val=&quot;0&quot;/&gt;&lt;m_rgb r=&quot;74&quot; g=&quot;C4&quot; b=&quot;EF&quot;/&gt;&lt;m_nBrightness tagver0=&quot;26206&quot; tagname0=&quot;m_nBrightnessUNRECOGNIZED&quot; val=&quot;0&quot;/&gt;&lt;/elem&gt;&lt;elem m_fUsage=&quot;9.71275175958159153744E-01&quot;&gt;&lt;m_msothmcolidx val=&quot;0&quot;/&gt;&lt;m_rgb r=&quot;38&quot; g=&quot;40&quot; b=&quot;4B&quot;/&gt;&lt;m_nBrightness tagver0=&quot;26206&quot; tagname0=&quot;m_nBrightnessUNRECOGNIZED&quot; val=&quot;0&quot;/&gt;&lt;/elem&gt;&lt;elem m_fUsage=&quot;1.85302018885184188735E-01&quot;&gt;&lt;m_msothmcolidx val=&quot;0&quot;/&gt;&lt;m_rgb r=&quot;38&quot; g=&quot;4A&quot; b=&quot;40&quot;/&gt;&lt;m_nBrightness tagver0=&quot;26206&quot; tagname0=&quot;m_nBrightnessUNRECOGNIZED&quot; val=&quot;0&quot;/&gt;&lt;/elem&gt;&lt;elem m_fUsage=&quot;1.21576654590569363523E-01&quot;&gt;&lt;m_msothmcolidx val=&quot;0&quot;/&gt;&lt;m_rgb r=&quot;D9&quot; g=&quot;DE&quot; b=&quot;E8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1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27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06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5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_NO" val="1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D_LANGUAGE" val="English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Ltt39KSoWjKf4HpMce7g"/>
</p:tagLst>
</file>

<file path=ppt/theme/theme1.xml><?xml version="1.0" encoding="utf-8"?>
<a:theme xmlns:a="http://schemas.openxmlformats.org/drawingml/2006/main" name="PowerPoint-Folienmaster">
  <a:themeElements>
    <a:clrScheme name="thyssenkrupp">
      <a:dk1>
        <a:srgbClr val="4B5564"/>
      </a:dk1>
      <a:lt1>
        <a:srgbClr val="FFFFFF"/>
      </a:lt1>
      <a:dk2>
        <a:srgbClr val="B0BAC4"/>
      </a:dk2>
      <a:lt2>
        <a:srgbClr val="78879B"/>
      </a:lt2>
      <a:accent1>
        <a:srgbClr val="D9DEE8"/>
      </a:accent1>
      <a:accent2>
        <a:srgbClr val="003C7D"/>
      </a:accent2>
      <a:accent3>
        <a:srgbClr val="0078DC"/>
      </a:accent3>
      <a:accent4>
        <a:srgbClr val="74C4EF"/>
      </a:accent4>
      <a:accent5>
        <a:srgbClr val="00A0F5"/>
      </a:accent5>
      <a:accent6>
        <a:srgbClr val="FFB400"/>
      </a:accent6>
      <a:hlink>
        <a:srgbClr val="4B5564"/>
      </a:hlink>
      <a:folHlink>
        <a:srgbClr val="9FAAB8"/>
      </a:folHlink>
    </a:clrScheme>
    <a:fontScheme name="TK_neu">
      <a:majorFont>
        <a:latin typeface="TKTypeBold"/>
        <a:ea typeface=""/>
        <a:cs typeface=""/>
      </a:majorFont>
      <a:minorFont>
        <a:latin typeface="TKTypeMedium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600"/>
          </a:spcBef>
          <a:spcAft>
            <a:spcPts val="0"/>
          </a:spcAft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90000"/>
          </a:lnSpc>
          <a:spcBef>
            <a:spcPts val="600"/>
          </a:spcBef>
          <a:spcAft>
            <a:spcPts val="0"/>
          </a:spcAft>
          <a:defRPr sz="16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-Folienmaster</Template>
  <TotalTime>0</TotalTime>
  <Words>237</Words>
  <Application>Microsoft Office PowerPoint</Application>
  <PresentationFormat>Breitbild</PresentationFormat>
  <Paragraphs>48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8" baseType="lpstr">
      <vt:lpstr>Arial</vt:lpstr>
      <vt:lpstr>Calibri</vt:lpstr>
      <vt:lpstr>TKTypeMedium</vt:lpstr>
      <vt:lpstr>TKTypeRegular</vt:lpstr>
      <vt:lpstr>Wingdings</vt:lpstr>
      <vt:lpstr>PowerPoint-Folienmaster</vt:lpstr>
      <vt:lpstr>think-cell Folie</vt:lpstr>
      <vt:lpstr>Information about Red Alert definition, process overview and use of Excel templates Red alert approach – Sales representative information slide</vt:lpstr>
    </vt:vector>
  </TitlesOfParts>
  <Company>ThyssenKrupp IT Services GmbH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Erbach, Florian</dc:creator>
  <cp:lastModifiedBy>Stalp, Alexander</cp:lastModifiedBy>
  <cp:revision>341</cp:revision>
  <dcterms:created xsi:type="dcterms:W3CDTF">2019-03-11T07:33:18Z</dcterms:created>
  <dcterms:modified xsi:type="dcterms:W3CDTF">2021-09-22T11:15:04Z</dcterms:modified>
</cp:coreProperties>
</file>